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heme/theme5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60" r:id="rId8"/>
    <p:sldMasterId id="2147483742" r:id="rId9"/>
    <p:sldMasterId id="2147483805" r:id="rId10"/>
    <p:sldMasterId id="2147483866" r:id="rId11"/>
    <p:sldMasterId id="2147483926" r:id="rId12"/>
  </p:sldMasterIdLst>
  <p:notesMasterIdLst>
    <p:notesMasterId r:id="rId40"/>
  </p:notesMasterIdLst>
  <p:handoutMasterIdLst>
    <p:handoutMasterId r:id="rId41"/>
  </p:handoutMasterIdLst>
  <p:sldIdLst>
    <p:sldId id="2147473083" r:id="rId13"/>
    <p:sldId id="2147481502" r:id="rId14"/>
    <p:sldId id="2147481498" r:id="rId15"/>
    <p:sldId id="2147481527" r:id="rId16"/>
    <p:sldId id="2147481497" r:id="rId17"/>
    <p:sldId id="2147481525" r:id="rId18"/>
    <p:sldId id="2147481511" r:id="rId19"/>
    <p:sldId id="257" r:id="rId20"/>
    <p:sldId id="2147471934" r:id="rId21"/>
    <p:sldId id="2147481526" r:id="rId22"/>
    <p:sldId id="2147481505" r:id="rId23"/>
    <p:sldId id="258" r:id="rId24"/>
    <p:sldId id="2147481506" r:id="rId25"/>
    <p:sldId id="2147481503" r:id="rId26"/>
    <p:sldId id="2147481521" r:id="rId27"/>
    <p:sldId id="2147481520" r:id="rId28"/>
    <p:sldId id="2147481512" r:id="rId29"/>
    <p:sldId id="2147481514" r:id="rId30"/>
    <p:sldId id="2147481519" r:id="rId31"/>
    <p:sldId id="2147481515" r:id="rId32"/>
    <p:sldId id="2147481513" r:id="rId33"/>
    <p:sldId id="2147481524" r:id="rId34"/>
    <p:sldId id="2147481516" r:id="rId35"/>
    <p:sldId id="2147481517" r:id="rId36"/>
    <p:sldId id="2147481518" r:id="rId37"/>
    <p:sldId id="265" r:id="rId38"/>
    <p:sldId id="2147473129" r:id="rId39"/>
  </p:sldIdLst>
  <p:sldSz cx="9144000" cy="5143500" type="screen16x9"/>
  <p:notesSz cx="6858000" cy="9144000"/>
  <p:embeddedFontLst>
    <p:embeddedFont>
      <p:font typeface="Roboto" panose="02000000000000000000" pitchFamily="2" charset="0"/>
      <p:regular r:id="rId42"/>
      <p:bold r:id="rId43"/>
      <p:italic r:id="rId44"/>
      <p:boldItalic r:id="rId45"/>
    </p:embeddedFont>
    <p:embeddedFont>
      <p:font typeface="Tietoevry Sans 1" panose="020B0604020202020204" charset="0"/>
      <p:regular r:id="rId46"/>
      <p:bold r:id="rId47"/>
      <p:italic r:id="rId48"/>
      <p:boldItalic r:id="rId49"/>
    </p:embeddedFont>
    <p:embeddedFont>
      <p:font typeface="Tietoevry Sans 1 Light" panose="020B0604020202020204" charset="0"/>
      <p:regular r:id="rId50"/>
      <p:italic r:id="rId51"/>
    </p:embeddedFont>
    <p:embeddedFont>
      <p:font typeface="Tietoevry Sans 1 Medium" panose="020B0604020202020204" charset="0"/>
      <p:regular r:id="rId52"/>
      <p:italic r:id="rId53"/>
    </p:embeddedFont>
    <p:embeddedFont>
      <p:font typeface="Tietoevry Sans 1 Thin" panose="020B0604020202020204" charset="0"/>
      <p:regular r:id="rId54"/>
      <p:italic r:id="rId55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9F0"/>
    <a:srgbClr val="E7EB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04" autoAdjust="0"/>
    <p:restoredTop sz="93447" autoAdjust="0"/>
  </p:normalViewPr>
  <p:slideViewPr>
    <p:cSldViewPr snapToGrid="0" showGuides="1">
      <p:cViewPr varScale="1">
        <p:scale>
          <a:sx n="95" d="100"/>
          <a:sy n="95" d="100"/>
        </p:scale>
        <p:origin x="408" y="64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-20"/>
    </p:cViewPr>
  </p:notesTextViewPr>
  <p:notesViewPr>
    <p:cSldViewPr snapToGrid="0" showGuides="1">
      <p:cViewPr varScale="1">
        <p:scale>
          <a:sx n="135" d="100"/>
          <a:sy n="135" d="100"/>
        </p:scale>
        <p:origin x="3792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font" Target="fonts/font1.fntdata"/><Relationship Id="rId47" Type="http://schemas.openxmlformats.org/officeDocument/2006/relationships/font" Target="fonts/font6.fntdata"/><Relationship Id="rId50" Type="http://schemas.openxmlformats.org/officeDocument/2006/relationships/font" Target="fonts/font9.fntdata"/><Relationship Id="rId55" Type="http://schemas.openxmlformats.org/officeDocument/2006/relationships/font" Target="fonts/font14.fntdata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1" Type="http://schemas.openxmlformats.org/officeDocument/2006/relationships/slideMaster" Target="slideMasters/slideMaster4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notesMaster" Target="notesMasters/notesMaster1.xml"/><Relationship Id="rId45" Type="http://schemas.openxmlformats.org/officeDocument/2006/relationships/font" Target="fonts/font4.fntdata"/><Relationship Id="rId53" Type="http://schemas.openxmlformats.org/officeDocument/2006/relationships/font" Target="fonts/font12.fntdata"/><Relationship Id="rId58" Type="http://schemas.openxmlformats.org/officeDocument/2006/relationships/theme" Target="theme/theme1.xml"/><Relationship Id="rId5" Type="http://schemas.openxmlformats.org/officeDocument/2006/relationships/customXml" Target="../customXml/item5.xml"/><Relationship Id="rId19" Type="http://schemas.openxmlformats.org/officeDocument/2006/relationships/slide" Target="slides/slide7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2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font" Target="fonts/font2.fntdata"/><Relationship Id="rId48" Type="http://schemas.openxmlformats.org/officeDocument/2006/relationships/font" Target="fonts/font7.fntdata"/><Relationship Id="rId56" Type="http://schemas.openxmlformats.org/officeDocument/2006/relationships/presProps" Target="presProps.xml"/><Relationship Id="rId8" Type="http://schemas.openxmlformats.org/officeDocument/2006/relationships/slideMaster" Target="slideMasters/slideMaster1.xml"/><Relationship Id="rId51" Type="http://schemas.openxmlformats.org/officeDocument/2006/relationships/font" Target="fonts/font10.fntdata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5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font" Target="fonts/font5.fntdata"/><Relationship Id="rId59" Type="http://schemas.openxmlformats.org/officeDocument/2006/relationships/tableStyles" Target="tableStyles.xml"/><Relationship Id="rId20" Type="http://schemas.openxmlformats.org/officeDocument/2006/relationships/slide" Target="slides/slide8.xml"/><Relationship Id="rId41" Type="http://schemas.openxmlformats.org/officeDocument/2006/relationships/handoutMaster" Target="handoutMasters/handoutMaster1.xml"/><Relationship Id="rId54" Type="http://schemas.openxmlformats.org/officeDocument/2006/relationships/font" Target="fonts/font13.fntdata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font" Target="fonts/font8.fntdata"/><Relationship Id="rId57" Type="http://schemas.openxmlformats.org/officeDocument/2006/relationships/viewProps" Target="viewProps.xml"/><Relationship Id="rId10" Type="http://schemas.openxmlformats.org/officeDocument/2006/relationships/slideMaster" Target="slideMasters/slideMaster3.xml"/><Relationship Id="rId31" Type="http://schemas.openxmlformats.org/officeDocument/2006/relationships/slide" Target="slides/slide19.xml"/><Relationship Id="rId44" Type="http://schemas.openxmlformats.org/officeDocument/2006/relationships/font" Target="fonts/font3.fntdata"/><Relationship Id="rId52" Type="http://schemas.openxmlformats.org/officeDocument/2006/relationships/font" Target="fonts/font11.fntdata"/><Relationship Id="rId6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bastian Reichmann" userId="97b542e6-531f-4820-8248-53aed7d588db" providerId="ADAL" clId="{7F3C5C7F-814E-4948-8235-679125B7BC14}"/>
    <pc:docChg chg="modSld">
      <pc:chgData name="Sebastian Reichmann" userId="97b542e6-531f-4820-8248-53aed7d588db" providerId="ADAL" clId="{7F3C5C7F-814E-4948-8235-679125B7BC14}" dt="2024-02-14T20:50:59.218" v="0" actId="20577"/>
      <pc:docMkLst>
        <pc:docMk/>
      </pc:docMkLst>
      <pc:sldChg chg="modNotesTx">
        <pc:chgData name="Sebastian Reichmann" userId="97b542e6-531f-4820-8248-53aed7d588db" providerId="ADAL" clId="{7F3C5C7F-814E-4948-8235-679125B7BC14}" dt="2024-02-14T20:50:59.218" v="0" actId="20577"/>
        <pc:sldMkLst>
          <pc:docMk/>
          <pc:sldMk cId="3140679561" sldId="2147473083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4310D60-E56E-4CC7-8CB4-8175E1BCD8B7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B0B5CE9-2CEA-47CD-B469-52BC2AB2EB53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GB" dirty="0">
              <a:latin typeface="+mn-lt"/>
            </a:rPr>
            <a:t>2.</a:t>
          </a:r>
        </a:p>
      </dgm:t>
    </dgm:pt>
    <dgm:pt modelId="{F8E8A62A-D9CA-4972-8C11-A0BCB0060C82}" type="parTrans" cxnId="{81DCD0E4-5470-461C-A341-80771DB1BA30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95C9D0DC-57CE-4AA7-9773-411461D0F7A8}" type="sibTrans" cxnId="{81DCD0E4-5470-461C-A341-80771DB1BA30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31E4E801-8CB3-4500-B938-B22CCD3556F9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GB" dirty="0">
              <a:latin typeface="+mn-lt"/>
            </a:rPr>
            <a:t>1.</a:t>
          </a:r>
          <a:endParaRPr lang="en-GB" b="0" dirty="0">
            <a:latin typeface="+mn-lt"/>
          </a:endParaRPr>
        </a:p>
      </dgm:t>
    </dgm:pt>
    <dgm:pt modelId="{0BCB138E-24D8-49BD-96DD-8AB14A833C2E}" type="parTrans" cxnId="{6CAC0B91-B62B-48D9-9973-AC7FB88870DF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DBB13854-6975-492C-9B9E-6968C7A7E1FC}" type="sibTrans" cxnId="{6CAC0B91-B62B-48D9-9973-AC7FB88870DF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9CB84A9D-1AB5-4310-A832-F56B5C578002}">
      <dgm:prSet phldrT="[Text]" custT="1"/>
      <dgm:spPr/>
      <dgm:t>
        <a:bodyPr/>
        <a:lstStyle/>
        <a:p>
          <a:pPr>
            <a:lnSpc>
              <a:spcPct val="100000"/>
            </a:lnSpc>
            <a:buClrTx/>
            <a:buSzTx/>
            <a:buFontTx/>
            <a:buNone/>
          </a:pPr>
          <a:r>
            <a:rPr kumimoji="0" lang="nb-NO" sz="1200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Tusenvis av brukere med ulik bakgrunn og kunnskap</a:t>
          </a:r>
          <a:endParaRPr lang="en-GB" sz="1200" dirty="0">
            <a:latin typeface="+mn-lt"/>
          </a:endParaRPr>
        </a:p>
      </dgm:t>
    </dgm:pt>
    <dgm:pt modelId="{13B9365F-348A-4DE5-8DD9-BB65017ADA5A}" type="parTrans" cxnId="{B6635081-09C8-483F-8772-2A98023DA512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CD63C3EB-9DDE-43E5-94A6-DBF6FA848196}" type="sibTrans" cxnId="{B6635081-09C8-483F-8772-2A98023DA512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AFB4F636-FAE5-47E0-8649-1F1B02EC2990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kumimoji="0" lang="nb-NO" sz="2000" b="1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Sikre en stabil brukeropplevelse</a:t>
          </a:r>
          <a:endParaRPr lang="nb-NO" sz="2000" noProof="0" dirty="0">
            <a:latin typeface="+mn-lt"/>
          </a:endParaRPr>
        </a:p>
      </dgm:t>
    </dgm:pt>
    <dgm:pt modelId="{D8E2E52A-1BDF-424D-B4DA-FD3E42115562}" type="parTrans" cxnId="{4ACCAB2A-750A-4EA7-B6D8-6ECCDA989FB3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ED393B3B-EE80-449F-A0BC-BD6E62AF6E86}" type="sibTrans" cxnId="{4ACCAB2A-750A-4EA7-B6D8-6ECCDA989FB3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C954C706-EF65-4D31-95CF-CD5B031D1E08}">
      <dgm:prSet phldrT="[Text]"/>
      <dgm:spPr/>
      <dgm:t>
        <a:bodyPr/>
        <a:lstStyle/>
        <a:p>
          <a:pPr>
            <a:lnSpc>
              <a:spcPct val="100000"/>
            </a:lnSpc>
            <a:buClrTx/>
            <a:buSzTx/>
            <a:buFontTx/>
            <a:buNone/>
          </a:pPr>
          <a:r>
            <a:rPr kumimoji="0" lang="en-US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3.</a:t>
          </a:r>
          <a:endParaRPr lang="en-GB" dirty="0">
            <a:latin typeface="+mn-lt"/>
          </a:endParaRPr>
        </a:p>
      </dgm:t>
    </dgm:pt>
    <dgm:pt modelId="{A3210A32-9BE9-446B-AFCB-AE6694A4646D}" type="parTrans" cxnId="{CDE53A54-5688-43B8-AED3-7043DED01610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4F76BB95-C126-4D77-8E2F-704B9629D217}" type="sibTrans" cxnId="{CDE53A54-5688-43B8-AED3-7043DED01610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70149C24-14E0-41E5-A23D-80F7DDAC6986}">
      <dgm:prSet phldrT="[Text]"/>
      <dgm:spPr/>
      <dgm:t>
        <a:bodyPr/>
        <a:lstStyle/>
        <a:p>
          <a:pPr>
            <a:buClrTx/>
            <a:buSzTx/>
            <a:buFontTx/>
            <a:buNone/>
          </a:pPr>
          <a:r>
            <a:rPr kumimoji="0" lang="nb-NO" b="1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Integrasjon i forretningsprosess</a:t>
          </a:r>
          <a:endParaRPr kumimoji="0" lang="en-GB" b="1" i="0" u="none" strike="noStrike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+mn-lt"/>
            <a:ea typeface="p22-mackinac-pro" pitchFamily="34" charset="-122"/>
            <a:cs typeface="p22-mackinac-pro" pitchFamily="34" charset="-120"/>
          </a:endParaRPr>
        </a:p>
      </dgm:t>
    </dgm:pt>
    <dgm:pt modelId="{759CE61A-032A-4AF0-B200-7716DF065215}" type="parTrans" cxnId="{2911CAC4-6B29-4F47-A90D-5B8CDCD77F9B}">
      <dgm:prSet/>
      <dgm:spPr/>
      <dgm:t>
        <a:bodyPr/>
        <a:lstStyle/>
        <a:p>
          <a:endParaRPr lang="en-GB"/>
        </a:p>
      </dgm:t>
    </dgm:pt>
    <dgm:pt modelId="{55540974-890B-44A8-8EC9-53E56AFB4D02}" type="sibTrans" cxnId="{2911CAC4-6B29-4F47-A90D-5B8CDCD77F9B}">
      <dgm:prSet/>
      <dgm:spPr/>
      <dgm:t>
        <a:bodyPr/>
        <a:lstStyle/>
        <a:p>
          <a:endParaRPr lang="en-GB"/>
        </a:p>
      </dgm:t>
    </dgm:pt>
    <dgm:pt modelId="{0299C2E1-10F2-43D4-AA5B-3D85823A98BD}">
      <dgm:prSet phldrT="[Text]"/>
      <dgm:spPr/>
      <dgm:t>
        <a:bodyPr/>
        <a:lstStyle/>
        <a:p>
          <a:pPr>
            <a:buClrTx/>
            <a:buSzTx/>
            <a:buFontTx/>
            <a:buNone/>
          </a:pPr>
          <a:r>
            <a:rPr lang="en-US" dirty="0" err="1">
              <a:solidFill>
                <a:srgbClr val="272525"/>
              </a:solidFill>
              <a:latin typeface="+mn-lt"/>
              <a:ea typeface="Eudoxus Sans" pitchFamily="34" charset="-122"/>
            </a:rPr>
            <a:t>Forretningsregler</a:t>
          </a:r>
          <a:r>
            <a:rPr lang="en-US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dirty="0" err="1">
              <a:solidFill>
                <a:srgbClr val="272525"/>
              </a:solidFill>
              <a:latin typeface="+mn-lt"/>
              <a:ea typeface="Eudoxus Sans" pitchFamily="34" charset="-122"/>
            </a:rPr>
            <a:t>datastrukturer</a:t>
          </a:r>
          <a:r>
            <a:rPr lang="en-US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dirty="0" err="1">
              <a:solidFill>
                <a:srgbClr val="272525"/>
              </a:solidFill>
              <a:latin typeface="+mn-lt"/>
              <a:ea typeface="Eudoxus Sans" pitchFamily="34" charset="-122"/>
            </a:rPr>
            <a:t>tilgangsrettigheter</a:t>
          </a:r>
          <a:r>
            <a:rPr lang="en-US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dirty="0" err="1">
              <a:solidFill>
                <a:srgbClr val="272525"/>
              </a:solidFill>
              <a:latin typeface="+mn-lt"/>
              <a:ea typeface="Eudoxus Sans" pitchFamily="34" charset="-122"/>
            </a:rPr>
            <a:t>integrasjoner</a:t>
          </a:r>
          <a:r>
            <a:rPr lang="en-US" dirty="0">
              <a:solidFill>
                <a:srgbClr val="272525"/>
              </a:solidFill>
              <a:latin typeface="+mn-lt"/>
              <a:ea typeface="Eudoxus Sans" pitchFamily="34" charset="-122"/>
            </a:rPr>
            <a:t> …</a:t>
          </a:r>
          <a:endParaRPr lang="en-GB" dirty="0">
            <a:latin typeface="+mn-lt"/>
          </a:endParaRPr>
        </a:p>
      </dgm:t>
    </dgm:pt>
    <dgm:pt modelId="{C8CD1A4C-5752-414D-9912-C4862D606F93}" type="parTrans" cxnId="{FF8AD0E2-CA6E-40B5-852E-B735B7468490}">
      <dgm:prSet/>
      <dgm:spPr/>
      <dgm:t>
        <a:bodyPr/>
        <a:lstStyle/>
        <a:p>
          <a:endParaRPr lang="en-GB"/>
        </a:p>
      </dgm:t>
    </dgm:pt>
    <dgm:pt modelId="{A7A57152-59DB-44AC-95F3-D44967205FBA}" type="sibTrans" cxnId="{FF8AD0E2-CA6E-40B5-852E-B735B7468490}">
      <dgm:prSet/>
      <dgm:spPr/>
      <dgm:t>
        <a:bodyPr/>
        <a:lstStyle/>
        <a:p>
          <a:endParaRPr lang="en-GB"/>
        </a:p>
      </dgm:t>
    </dgm:pt>
    <dgm:pt modelId="{54315DF9-02F4-4FCF-9544-24B9576EFF96}">
      <dgm:prSet phldrT="[Text]" custT="1"/>
      <dgm:spPr>
        <a:noFill/>
        <a:ln>
          <a:noFill/>
        </a:ln>
        <a:effectLst/>
      </dgm:spPr>
      <dgm:t>
        <a:bodyPr spcFirstLastPara="0" vert="horz" wrap="square" lIns="76200" tIns="76200" rIns="76200" bIns="76200" numCol="1" spcCol="1270" anchor="t" anchorCtr="0"/>
        <a:lstStyle/>
        <a:p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nde-</a:t>
          </a: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til</a:t>
          </a: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-</a:t>
          </a: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nde-automatisering</a:t>
          </a:r>
          <a:endParaRPr kumimoji="0" lang="en-GB" sz="2000" b="1" i="0" u="none" strike="noStrike" kern="1200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Calibri" panose="020F0502020204030204"/>
            <a:ea typeface="p22-mackinac-pro" pitchFamily="34" charset="-122"/>
            <a:cs typeface="p22-mackinac-pro" pitchFamily="34" charset="-120"/>
          </a:endParaRPr>
        </a:p>
      </dgm:t>
    </dgm:pt>
    <dgm:pt modelId="{2A1BA7A0-D318-4118-A939-6C9A4C348AC8}" type="parTrans" cxnId="{B2983B95-8EFF-424E-8B55-F6A213F9E747}">
      <dgm:prSet/>
      <dgm:spPr/>
      <dgm:t>
        <a:bodyPr/>
        <a:lstStyle/>
        <a:p>
          <a:endParaRPr lang="en-GB"/>
        </a:p>
      </dgm:t>
    </dgm:pt>
    <dgm:pt modelId="{CC7085F7-E9F3-4B1B-8303-832FE342D3C9}" type="sibTrans" cxnId="{B2983B95-8EFF-424E-8B55-F6A213F9E747}">
      <dgm:prSet/>
      <dgm:spPr/>
      <dgm:t>
        <a:bodyPr/>
        <a:lstStyle/>
        <a:p>
          <a:endParaRPr lang="en-GB"/>
        </a:p>
      </dgm:t>
    </dgm:pt>
    <dgm:pt modelId="{6418CCE0-65CB-4C07-8FB6-9C89AFC80B28}">
      <dgm:prSet phldrT="[Text]"/>
      <dgm:spPr/>
      <dgm:t>
        <a:bodyPr/>
        <a:lstStyle/>
        <a:p>
          <a:pPr>
            <a:buClrTx/>
            <a:buSzTx/>
            <a:buFontTx/>
            <a:buNone/>
          </a:pP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"</a:t>
          </a: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out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of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the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box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" løsninger uten kompliserte </a:t>
          </a: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implementerigs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- prosjekter</a:t>
          </a:r>
          <a:endParaRPr lang="en-GB" dirty="0">
            <a:latin typeface="+mn-lt"/>
          </a:endParaRPr>
        </a:p>
      </dgm:t>
    </dgm:pt>
    <dgm:pt modelId="{91920D38-AAC7-41C9-9F11-759160AE4DC7}" type="parTrans" cxnId="{29AA671D-D110-4E08-BC49-BE227E997DC2}">
      <dgm:prSet/>
      <dgm:spPr/>
      <dgm:t>
        <a:bodyPr/>
        <a:lstStyle/>
        <a:p>
          <a:endParaRPr lang="en-GB"/>
        </a:p>
      </dgm:t>
    </dgm:pt>
    <dgm:pt modelId="{B4ADED06-B33D-41B6-B7AB-3A541EF17BCA}" type="sibTrans" cxnId="{29AA671D-D110-4E08-BC49-BE227E997DC2}">
      <dgm:prSet/>
      <dgm:spPr/>
      <dgm:t>
        <a:bodyPr/>
        <a:lstStyle/>
        <a:p>
          <a:endParaRPr lang="en-GB"/>
        </a:p>
      </dgm:t>
    </dgm:pt>
    <dgm:pt modelId="{45FB32F1-C127-4A45-8E8D-A2DE920E446E}">
      <dgm:prSet phldrT="[Text]" custT="1"/>
      <dgm:spPr/>
      <dgm:t>
        <a:bodyPr/>
        <a:lstStyle/>
        <a:p>
          <a:pPr>
            <a:lnSpc>
              <a:spcPct val="100000"/>
            </a:lnSpc>
            <a:buClrTx/>
            <a:buSzTx/>
            <a:buFontTx/>
            <a:buNone/>
          </a:pPr>
          <a:r>
            <a:rPr lang="en-GB" sz="1200" dirty="0" err="1">
              <a:latin typeface="+mn-lt"/>
            </a:rPr>
            <a:t>Begrenset</a:t>
          </a:r>
          <a:r>
            <a:rPr lang="en-GB" sz="1200" dirty="0">
              <a:latin typeface="+mn-lt"/>
            </a:rPr>
            <a:t> </a:t>
          </a:r>
          <a:r>
            <a:rPr lang="en-GB" sz="1200" dirty="0" err="1">
              <a:latin typeface="+mn-lt"/>
            </a:rPr>
            <a:t>kontroll</a:t>
          </a:r>
          <a:r>
            <a:rPr lang="en-GB" sz="1200" dirty="0">
              <a:latin typeface="+mn-lt"/>
            </a:rPr>
            <a:t> </a:t>
          </a:r>
          <a:r>
            <a:rPr lang="en-GB" sz="1200" dirty="0" err="1">
              <a:latin typeface="+mn-lt"/>
            </a:rPr>
            <a:t>på</a:t>
          </a:r>
          <a:r>
            <a:rPr lang="en-GB" sz="1200" dirty="0">
              <a:latin typeface="+mn-lt"/>
            </a:rPr>
            <a:t> LLM modeller</a:t>
          </a:r>
        </a:p>
      </dgm:t>
    </dgm:pt>
    <dgm:pt modelId="{BA7600AD-93DB-4392-937B-49C784101ECE}" type="parTrans" cxnId="{C4293B22-A02C-4100-B341-55299CBAC129}">
      <dgm:prSet/>
      <dgm:spPr/>
      <dgm:t>
        <a:bodyPr/>
        <a:lstStyle/>
        <a:p>
          <a:endParaRPr lang="en-GB"/>
        </a:p>
      </dgm:t>
    </dgm:pt>
    <dgm:pt modelId="{56584159-1F4B-4505-83A7-2DB481A317D9}" type="sibTrans" cxnId="{C4293B22-A02C-4100-B341-55299CBAC129}">
      <dgm:prSet/>
      <dgm:spPr/>
      <dgm:t>
        <a:bodyPr/>
        <a:lstStyle/>
        <a:p>
          <a:endParaRPr lang="en-GB"/>
        </a:p>
      </dgm:t>
    </dgm:pt>
    <dgm:pt modelId="{42A8D2FB-7134-47B2-9617-DD6FCAEDEDBE}">
      <dgm:prSet phldrT="[Text]"/>
      <dgm:spPr/>
      <dgm:t>
        <a:bodyPr/>
        <a:lstStyle/>
        <a:p>
          <a:pPr>
            <a:buClrTx/>
            <a:buSzTx/>
            <a:buFontTx/>
            <a:buNone/>
          </a:pPr>
          <a:r>
            <a:rPr lang="en-GB" dirty="0">
              <a:latin typeface="+mn-lt"/>
            </a:rPr>
            <a:t>4.</a:t>
          </a:r>
        </a:p>
      </dgm:t>
    </dgm:pt>
    <dgm:pt modelId="{C496D48C-0166-457E-8BC7-6E72DA107791}" type="parTrans" cxnId="{17DEB1C4-81BA-4788-A97B-5F3863788407}">
      <dgm:prSet/>
      <dgm:spPr/>
      <dgm:t>
        <a:bodyPr/>
        <a:lstStyle/>
        <a:p>
          <a:endParaRPr lang="en-GB"/>
        </a:p>
      </dgm:t>
    </dgm:pt>
    <dgm:pt modelId="{16E66D29-731B-4511-98C1-609F76F1395A}" type="sibTrans" cxnId="{17DEB1C4-81BA-4788-A97B-5F3863788407}">
      <dgm:prSet/>
      <dgm:spPr/>
      <dgm:t>
        <a:bodyPr/>
        <a:lstStyle/>
        <a:p>
          <a:endParaRPr lang="en-GB"/>
        </a:p>
      </dgm:t>
    </dgm:pt>
    <dgm:pt modelId="{3A0EB6F6-AE92-42DD-8E49-61F17792D04B}">
      <dgm:prSet phldrT="[Text]" custT="1"/>
      <dgm:spPr>
        <a:noFill/>
        <a:ln>
          <a:noFill/>
        </a:ln>
        <a:effectLst/>
      </dgm:spPr>
      <dgm:t>
        <a:bodyPr spcFirstLastPara="0" vert="horz" wrap="square" lIns="76200" tIns="76200" rIns="76200" bIns="76200" numCol="1" spcCol="1270" anchor="t" anchorCtr="0"/>
        <a:lstStyle/>
        <a:p>
          <a:pPr>
            <a:buClrTx/>
            <a:buSzTx/>
            <a:buFontTx/>
            <a:buNone/>
          </a:pP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ffektiv</a:t>
          </a: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 </a:t>
          </a:r>
          <a:b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</a:b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AI-Governance</a:t>
          </a:r>
          <a:endParaRPr lang="en-GB" sz="2000" kern="1200" dirty="0">
            <a:latin typeface="+mn-lt"/>
          </a:endParaRPr>
        </a:p>
      </dgm:t>
    </dgm:pt>
    <dgm:pt modelId="{5571AF25-6156-461D-A80B-13007890F28A}" type="parTrans" cxnId="{2EF5DAA2-F4DA-4264-BEC4-13A1041893A2}">
      <dgm:prSet/>
      <dgm:spPr/>
      <dgm:t>
        <a:bodyPr/>
        <a:lstStyle/>
        <a:p>
          <a:endParaRPr lang="en-GB"/>
        </a:p>
      </dgm:t>
    </dgm:pt>
    <dgm:pt modelId="{6E9A69A0-B57A-497A-AB7A-07492C4799E4}" type="sibTrans" cxnId="{2EF5DAA2-F4DA-4264-BEC4-13A1041893A2}">
      <dgm:prSet/>
      <dgm:spPr/>
      <dgm:t>
        <a:bodyPr/>
        <a:lstStyle/>
        <a:p>
          <a:endParaRPr lang="en-GB"/>
        </a:p>
      </dgm:t>
    </dgm:pt>
    <dgm:pt modelId="{797FB601-B782-44B1-A92D-996E13FE5CA4}">
      <dgm:prSet phldrT="[Text]"/>
      <dgm:spPr/>
      <dgm:t>
        <a:bodyPr/>
        <a:lstStyle/>
        <a:p>
          <a:pPr>
            <a:buClrTx/>
            <a:buSzTx/>
            <a:buFontTx/>
            <a:buNone/>
          </a:pP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Governance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prosess som holder tritt med fart og omfang av konsept innovasjon</a:t>
          </a:r>
          <a:endParaRPr kumimoji="0" lang="en-GB" b="0" i="0" u="none" strike="noStrike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+mn-lt"/>
            <a:ea typeface="Eudoxus Sans" pitchFamily="34" charset="-122"/>
            <a:cs typeface="Eudoxus Sans" pitchFamily="34" charset="-120"/>
          </a:endParaRPr>
        </a:p>
      </dgm:t>
    </dgm:pt>
    <dgm:pt modelId="{DDDB8D55-25C4-4A0D-8EE9-F0F2542B5935}" type="parTrans" cxnId="{B67C8549-594E-4128-8DBD-350AB8C24D1C}">
      <dgm:prSet/>
      <dgm:spPr/>
      <dgm:t>
        <a:bodyPr/>
        <a:lstStyle/>
        <a:p>
          <a:endParaRPr lang="en-GB"/>
        </a:p>
      </dgm:t>
    </dgm:pt>
    <dgm:pt modelId="{029B3BE8-D1F6-4527-BDC0-7D941DA1F9E6}" type="sibTrans" cxnId="{B67C8549-594E-4128-8DBD-350AB8C24D1C}">
      <dgm:prSet/>
      <dgm:spPr/>
      <dgm:t>
        <a:bodyPr/>
        <a:lstStyle/>
        <a:p>
          <a:endParaRPr lang="en-GB"/>
        </a:p>
      </dgm:t>
    </dgm:pt>
    <dgm:pt modelId="{F30BFB1F-71CD-451D-A167-6C09F4E98357}" type="pres">
      <dgm:prSet presAssocID="{84310D60-E56E-4CC7-8CB4-8175E1BCD8B7}" presName="vert0" presStyleCnt="0">
        <dgm:presLayoutVars>
          <dgm:dir/>
          <dgm:animOne val="branch"/>
          <dgm:animLvl val="lvl"/>
        </dgm:presLayoutVars>
      </dgm:prSet>
      <dgm:spPr/>
    </dgm:pt>
    <dgm:pt modelId="{8758DBA2-343B-4FAF-B2D0-839CCAD8BC56}" type="pres">
      <dgm:prSet presAssocID="{31E4E801-8CB3-4500-B938-B22CCD3556F9}" presName="thickLine" presStyleLbl="alignNode1" presStyleIdx="0" presStyleCnt="4"/>
      <dgm:spPr/>
    </dgm:pt>
    <dgm:pt modelId="{8F0D5ABA-487F-4BE2-80D7-C7537CF36CE5}" type="pres">
      <dgm:prSet presAssocID="{31E4E801-8CB3-4500-B938-B22CCD3556F9}" presName="horz1" presStyleCnt="0"/>
      <dgm:spPr/>
    </dgm:pt>
    <dgm:pt modelId="{CDDBED3E-D6B3-45EA-901F-E062F2534651}" type="pres">
      <dgm:prSet presAssocID="{31E4E801-8CB3-4500-B938-B22CCD3556F9}" presName="tx1" presStyleLbl="revTx" presStyleIdx="0" presStyleCnt="13"/>
      <dgm:spPr/>
    </dgm:pt>
    <dgm:pt modelId="{AB84DCEF-F532-475D-BF20-D9EAD0CDE35F}" type="pres">
      <dgm:prSet presAssocID="{31E4E801-8CB3-4500-B938-B22CCD3556F9}" presName="vert1" presStyleCnt="0"/>
      <dgm:spPr/>
    </dgm:pt>
    <dgm:pt modelId="{40BE354B-05DB-4845-8278-5EECF4C4A7A7}" type="pres">
      <dgm:prSet presAssocID="{70149C24-14E0-41E5-A23D-80F7DDAC6986}" presName="vertSpace2a" presStyleCnt="0"/>
      <dgm:spPr/>
    </dgm:pt>
    <dgm:pt modelId="{28532809-9687-4CC7-A6F1-7EB3E265888A}" type="pres">
      <dgm:prSet presAssocID="{70149C24-14E0-41E5-A23D-80F7DDAC6986}" presName="horz2" presStyleCnt="0"/>
      <dgm:spPr/>
    </dgm:pt>
    <dgm:pt modelId="{9DDA9327-1C36-40F0-B9F8-5C0691CAC8E6}" type="pres">
      <dgm:prSet presAssocID="{70149C24-14E0-41E5-A23D-80F7DDAC6986}" presName="horzSpace2" presStyleCnt="0"/>
      <dgm:spPr/>
    </dgm:pt>
    <dgm:pt modelId="{84C58614-7037-4AC5-B328-187E7C300F94}" type="pres">
      <dgm:prSet presAssocID="{70149C24-14E0-41E5-A23D-80F7DDAC6986}" presName="tx2" presStyleLbl="revTx" presStyleIdx="1" presStyleCnt="13"/>
      <dgm:spPr/>
    </dgm:pt>
    <dgm:pt modelId="{3519C762-22B9-452E-9D63-B08AEE711931}" type="pres">
      <dgm:prSet presAssocID="{70149C24-14E0-41E5-A23D-80F7DDAC6986}" presName="vert2" presStyleCnt="0"/>
      <dgm:spPr/>
    </dgm:pt>
    <dgm:pt modelId="{EFCDBE41-9A7E-4C3A-9411-113C467EBDF6}" type="pres">
      <dgm:prSet presAssocID="{0299C2E1-10F2-43D4-AA5B-3D85823A98BD}" presName="horz3" presStyleCnt="0"/>
      <dgm:spPr/>
    </dgm:pt>
    <dgm:pt modelId="{F692DB52-83FA-4D34-A29D-E85A38465034}" type="pres">
      <dgm:prSet presAssocID="{0299C2E1-10F2-43D4-AA5B-3D85823A98BD}" presName="horzSpace3" presStyleCnt="0"/>
      <dgm:spPr/>
    </dgm:pt>
    <dgm:pt modelId="{718169AB-0FD1-4908-A801-75DAA5C50842}" type="pres">
      <dgm:prSet presAssocID="{0299C2E1-10F2-43D4-AA5B-3D85823A98BD}" presName="tx3" presStyleLbl="revTx" presStyleIdx="2" presStyleCnt="13"/>
      <dgm:spPr/>
    </dgm:pt>
    <dgm:pt modelId="{90D38AD2-7420-4B18-B445-6EE2BAA932F7}" type="pres">
      <dgm:prSet presAssocID="{0299C2E1-10F2-43D4-AA5B-3D85823A98BD}" presName="vert3" presStyleCnt="0"/>
      <dgm:spPr/>
    </dgm:pt>
    <dgm:pt modelId="{07AA2E4B-2FC5-4F2F-B6BB-647F130CE34C}" type="pres">
      <dgm:prSet presAssocID="{70149C24-14E0-41E5-A23D-80F7DDAC6986}" presName="thinLine2b" presStyleLbl="callout" presStyleIdx="0" presStyleCnt="5"/>
      <dgm:spPr/>
    </dgm:pt>
    <dgm:pt modelId="{05AAC90C-08A3-4966-A704-5C5CFDC3A7F9}" type="pres">
      <dgm:prSet presAssocID="{70149C24-14E0-41E5-A23D-80F7DDAC6986}" presName="vertSpace2b" presStyleCnt="0"/>
      <dgm:spPr/>
    </dgm:pt>
    <dgm:pt modelId="{2C1DF126-C412-4199-9639-D1560F90BD19}" type="pres">
      <dgm:prSet presAssocID="{2B0B5CE9-2CEA-47CD-B469-52BC2AB2EB53}" presName="thickLine" presStyleLbl="alignNode1" presStyleIdx="1" presStyleCnt="4"/>
      <dgm:spPr/>
    </dgm:pt>
    <dgm:pt modelId="{FCA80EE3-E758-4B88-9F1E-D78C8EC2EDDF}" type="pres">
      <dgm:prSet presAssocID="{2B0B5CE9-2CEA-47CD-B469-52BC2AB2EB53}" presName="horz1" presStyleCnt="0"/>
      <dgm:spPr/>
    </dgm:pt>
    <dgm:pt modelId="{43C21E66-6FF5-4198-9ADD-4AB69424E49F}" type="pres">
      <dgm:prSet presAssocID="{2B0B5CE9-2CEA-47CD-B469-52BC2AB2EB53}" presName="tx1" presStyleLbl="revTx" presStyleIdx="3" presStyleCnt="13"/>
      <dgm:spPr/>
    </dgm:pt>
    <dgm:pt modelId="{B33A23C0-0B1C-4FA4-AA38-EAE38F72359A}" type="pres">
      <dgm:prSet presAssocID="{2B0B5CE9-2CEA-47CD-B469-52BC2AB2EB53}" presName="vert1" presStyleCnt="0"/>
      <dgm:spPr/>
    </dgm:pt>
    <dgm:pt modelId="{B242F500-48F3-4209-A9A8-8AECAF2FBDA7}" type="pres">
      <dgm:prSet presAssocID="{AFB4F636-FAE5-47E0-8649-1F1B02EC2990}" presName="vertSpace2a" presStyleCnt="0"/>
      <dgm:spPr/>
    </dgm:pt>
    <dgm:pt modelId="{CD04513C-4A78-4BD7-9B35-C05A37B91468}" type="pres">
      <dgm:prSet presAssocID="{AFB4F636-FAE5-47E0-8649-1F1B02EC2990}" presName="horz2" presStyleCnt="0"/>
      <dgm:spPr/>
    </dgm:pt>
    <dgm:pt modelId="{7F93D033-9764-4484-8131-0F367E2E681B}" type="pres">
      <dgm:prSet presAssocID="{AFB4F636-FAE5-47E0-8649-1F1B02EC2990}" presName="horzSpace2" presStyleCnt="0"/>
      <dgm:spPr/>
    </dgm:pt>
    <dgm:pt modelId="{E51757D3-76CF-4A64-A04D-A1C08C7A6F2A}" type="pres">
      <dgm:prSet presAssocID="{AFB4F636-FAE5-47E0-8649-1F1B02EC2990}" presName="tx2" presStyleLbl="revTx" presStyleIdx="4" presStyleCnt="13"/>
      <dgm:spPr/>
    </dgm:pt>
    <dgm:pt modelId="{58A57834-A45F-4C2E-BA93-714501039B4F}" type="pres">
      <dgm:prSet presAssocID="{AFB4F636-FAE5-47E0-8649-1F1B02EC2990}" presName="vert2" presStyleCnt="0"/>
      <dgm:spPr/>
    </dgm:pt>
    <dgm:pt modelId="{07AEF852-CB80-4512-9597-BEFEEAA94BE4}" type="pres">
      <dgm:prSet presAssocID="{9CB84A9D-1AB5-4310-A832-F56B5C578002}" presName="horz3" presStyleCnt="0"/>
      <dgm:spPr/>
    </dgm:pt>
    <dgm:pt modelId="{9F5BB500-3282-4DA2-9DEF-3C91828DAC17}" type="pres">
      <dgm:prSet presAssocID="{9CB84A9D-1AB5-4310-A832-F56B5C578002}" presName="horzSpace3" presStyleCnt="0"/>
      <dgm:spPr/>
    </dgm:pt>
    <dgm:pt modelId="{804086FF-BD4C-4D02-8E28-77121C82CF2C}" type="pres">
      <dgm:prSet presAssocID="{9CB84A9D-1AB5-4310-A832-F56B5C578002}" presName="tx3" presStyleLbl="revTx" presStyleIdx="5" presStyleCnt="13"/>
      <dgm:spPr/>
    </dgm:pt>
    <dgm:pt modelId="{35B9FDE8-2699-4135-97A6-B0BEF0BB476B}" type="pres">
      <dgm:prSet presAssocID="{9CB84A9D-1AB5-4310-A832-F56B5C578002}" presName="vert3" presStyleCnt="0"/>
      <dgm:spPr/>
    </dgm:pt>
    <dgm:pt modelId="{59A70CAF-EF7B-4101-AD20-FA66B28EF028}" type="pres">
      <dgm:prSet presAssocID="{CD63C3EB-9DDE-43E5-94A6-DBF6FA848196}" presName="thinLine3" presStyleLbl="callout" presStyleIdx="1" presStyleCnt="5"/>
      <dgm:spPr/>
    </dgm:pt>
    <dgm:pt modelId="{300A68D8-5267-4360-B8BA-C77EEA39AF3F}" type="pres">
      <dgm:prSet presAssocID="{45FB32F1-C127-4A45-8E8D-A2DE920E446E}" presName="horz3" presStyleCnt="0"/>
      <dgm:spPr/>
    </dgm:pt>
    <dgm:pt modelId="{D7DEF4B7-4431-49A7-BF58-5D7AE8465AE6}" type="pres">
      <dgm:prSet presAssocID="{45FB32F1-C127-4A45-8E8D-A2DE920E446E}" presName="horzSpace3" presStyleCnt="0"/>
      <dgm:spPr/>
    </dgm:pt>
    <dgm:pt modelId="{8639A28C-AD7A-46A6-89CC-FD629542D662}" type="pres">
      <dgm:prSet presAssocID="{45FB32F1-C127-4A45-8E8D-A2DE920E446E}" presName="tx3" presStyleLbl="revTx" presStyleIdx="6" presStyleCnt="13"/>
      <dgm:spPr/>
    </dgm:pt>
    <dgm:pt modelId="{28761063-BB1E-48A8-9839-DAB35BA629C5}" type="pres">
      <dgm:prSet presAssocID="{45FB32F1-C127-4A45-8E8D-A2DE920E446E}" presName="vert3" presStyleCnt="0"/>
      <dgm:spPr/>
    </dgm:pt>
    <dgm:pt modelId="{1E6A02EF-3187-423A-BEB2-AF7CD908F185}" type="pres">
      <dgm:prSet presAssocID="{AFB4F636-FAE5-47E0-8649-1F1B02EC2990}" presName="thinLine2b" presStyleLbl="callout" presStyleIdx="2" presStyleCnt="5"/>
      <dgm:spPr/>
    </dgm:pt>
    <dgm:pt modelId="{8B83C0E6-DD3B-465A-BCB7-92E484F4C3D0}" type="pres">
      <dgm:prSet presAssocID="{AFB4F636-FAE5-47E0-8649-1F1B02EC2990}" presName="vertSpace2b" presStyleCnt="0"/>
      <dgm:spPr/>
    </dgm:pt>
    <dgm:pt modelId="{0C8B9503-63C0-4520-BC14-DDEC3B4D072B}" type="pres">
      <dgm:prSet presAssocID="{C954C706-EF65-4D31-95CF-CD5B031D1E08}" presName="thickLine" presStyleLbl="alignNode1" presStyleIdx="2" presStyleCnt="4"/>
      <dgm:spPr/>
    </dgm:pt>
    <dgm:pt modelId="{67B9CEBE-C840-4698-BE80-A50A6138235D}" type="pres">
      <dgm:prSet presAssocID="{C954C706-EF65-4D31-95CF-CD5B031D1E08}" presName="horz1" presStyleCnt="0"/>
      <dgm:spPr/>
    </dgm:pt>
    <dgm:pt modelId="{8F71F20C-BE1E-4F90-8BA3-1D0212A56127}" type="pres">
      <dgm:prSet presAssocID="{C954C706-EF65-4D31-95CF-CD5B031D1E08}" presName="tx1" presStyleLbl="revTx" presStyleIdx="7" presStyleCnt="13"/>
      <dgm:spPr/>
    </dgm:pt>
    <dgm:pt modelId="{170F9447-52A6-49A8-8C7E-791DDB250B29}" type="pres">
      <dgm:prSet presAssocID="{C954C706-EF65-4D31-95CF-CD5B031D1E08}" presName="vert1" presStyleCnt="0"/>
      <dgm:spPr/>
    </dgm:pt>
    <dgm:pt modelId="{77CB27D8-D8EB-4B48-B6C3-4330F1ACE4B9}" type="pres">
      <dgm:prSet presAssocID="{54315DF9-02F4-4FCF-9544-24B9576EFF96}" presName="vertSpace2a" presStyleCnt="0"/>
      <dgm:spPr/>
    </dgm:pt>
    <dgm:pt modelId="{3290A2B1-375A-45F7-ADB0-9215DF2BDC25}" type="pres">
      <dgm:prSet presAssocID="{54315DF9-02F4-4FCF-9544-24B9576EFF96}" presName="horz2" presStyleCnt="0"/>
      <dgm:spPr/>
    </dgm:pt>
    <dgm:pt modelId="{6244D28D-806D-4DBF-9E95-234779416465}" type="pres">
      <dgm:prSet presAssocID="{54315DF9-02F4-4FCF-9544-24B9576EFF96}" presName="horzSpace2" presStyleCnt="0"/>
      <dgm:spPr/>
    </dgm:pt>
    <dgm:pt modelId="{DEA036F4-4D9B-48B9-89B7-B2658DE4CE4D}" type="pres">
      <dgm:prSet presAssocID="{54315DF9-02F4-4FCF-9544-24B9576EFF96}" presName="tx2" presStyleLbl="revTx" presStyleIdx="8" presStyleCnt="13"/>
      <dgm:spPr>
        <a:xfrm>
          <a:off x="1323139" y="1952149"/>
          <a:ext cx="2369343" cy="866793"/>
        </a:xfrm>
        <a:prstGeom prst="rect">
          <a:avLst/>
        </a:prstGeom>
      </dgm:spPr>
    </dgm:pt>
    <dgm:pt modelId="{614438A7-5A3B-408C-B796-F1A0D39F3776}" type="pres">
      <dgm:prSet presAssocID="{54315DF9-02F4-4FCF-9544-24B9576EFF96}" presName="vert2" presStyleCnt="0"/>
      <dgm:spPr/>
    </dgm:pt>
    <dgm:pt modelId="{52999005-AC72-476B-B122-25995837F9CA}" type="pres">
      <dgm:prSet presAssocID="{6418CCE0-65CB-4C07-8FB6-9C89AFC80B28}" presName="horz3" presStyleCnt="0"/>
      <dgm:spPr/>
    </dgm:pt>
    <dgm:pt modelId="{227CEB18-DE89-4D65-BBE7-624946906277}" type="pres">
      <dgm:prSet presAssocID="{6418CCE0-65CB-4C07-8FB6-9C89AFC80B28}" presName="horzSpace3" presStyleCnt="0"/>
      <dgm:spPr/>
    </dgm:pt>
    <dgm:pt modelId="{93E06218-B209-4928-855A-F13352CA9344}" type="pres">
      <dgm:prSet presAssocID="{6418CCE0-65CB-4C07-8FB6-9C89AFC80B28}" presName="tx3" presStyleLbl="revTx" presStyleIdx="9" presStyleCnt="13"/>
      <dgm:spPr/>
    </dgm:pt>
    <dgm:pt modelId="{B9D62C5F-CD2C-4278-A844-40372A1AF29A}" type="pres">
      <dgm:prSet presAssocID="{6418CCE0-65CB-4C07-8FB6-9C89AFC80B28}" presName="vert3" presStyleCnt="0"/>
      <dgm:spPr/>
    </dgm:pt>
    <dgm:pt modelId="{BA360986-FE0F-4517-9E13-58CEBD9D77C1}" type="pres">
      <dgm:prSet presAssocID="{54315DF9-02F4-4FCF-9544-24B9576EFF96}" presName="thinLine2b" presStyleLbl="callout" presStyleIdx="3" presStyleCnt="5"/>
      <dgm:spPr/>
    </dgm:pt>
    <dgm:pt modelId="{6D15EB8E-26E2-4BF3-B1D8-3A8AEA9DE4C2}" type="pres">
      <dgm:prSet presAssocID="{54315DF9-02F4-4FCF-9544-24B9576EFF96}" presName="vertSpace2b" presStyleCnt="0"/>
      <dgm:spPr/>
    </dgm:pt>
    <dgm:pt modelId="{7D20B13A-EF89-4C0B-A462-AB01F7D03BFF}" type="pres">
      <dgm:prSet presAssocID="{42A8D2FB-7134-47B2-9617-DD6FCAEDEDBE}" presName="thickLine" presStyleLbl="alignNode1" presStyleIdx="3" presStyleCnt="4"/>
      <dgm:spPr/>
    </dgm:pt>
    <dgm:pt modelId="{7B8939D5-64F8-4D0C-A995-C0C9BAB24065}" type="pres">
      <dgm:prSet presAssocID="{42A8D2FB-7134-47B2-9617-DD6FCAEDEDBE}" presName="horz1" presStyleCnt="0"/>
      <dgm:spPr/>
    </dgm:pt>
    <dgm:pt modelId="{C36752E2-C357-4B45-A29C-F8EC1FD199E0}" type="pres">
      <dgm:prSet presAssocID="{42A8D2FB-7134-47B2-9617-DD6FCAEDEDBE}" presName="tx1" presStyleLbl="revTx" presStyleIdx="10" presStyleCnt="13"/>
      <dgm:spPr/>
    </dgm:pt>
    <dgm:pt modelId="{C00C1696-DCF0-4074-AB74-0C4E48EDADE1}" type="pres">
      <dgm:prSet presAssocID="{42A8D2FB-7134-47B2-9617-DD6FCAEDEDBE}" presName="vert1" presStyleCnt="0"/>
      <dgm:spPr/>
    </dgm:pt>
    <dgm:pt modelId="{D040586D-9D2C-43D2-AB44-2A3E6FF166C5}" type="pres">
      <dgm:prSet presAssocID="{3A0EB6F6-AE92-42DD-8E49-61F17792D04B}" presName="vertSpace2a" presStyleCnt="0"/>
      <dgm:spPr/>
    </dgm:pt>
    <dgm:pt modelId="{81A6655D-33EB-499B-A38A-3352E980CB49}" type="pres">
      <dgm:prSet presAssocID="{3A0EB6F6-AE92-42DD-8E49-61F17792D04B}" presName="horz2" presStyleCnt="0"/>
      <dgm:spPr/>
    </dgm:pt>
    <dgm:pt modelId="{F08827B7-34A5-4496-94C2-37E3B41F3C89}" type="pres">
      <dgm:prSet presAssocID="{3A0EB6F6-AE92-42DD-8E49-61F17792D04B}" presName="horzSpace2" presStyleCnt="0"/>
      <dgm:spPr/>
    </dgm:pt>
    <dgm:pt modelId="{31AA0E48-E629-4A1F-84E4-86935EF341D2}" type="pres">
      <dgm:prSet presAssocID="{3A0EB6F6-AE92-42DD-8E49-61F17792D04B}" presName="tx2" presStyleLbl="revTx" presStyleIdx="11" presStyleCnt="13"/>
      <dgm:spPr>
        <a:xfrm>
          <a:off x="1323139" y="2906553"/>
          <a:ext cx="2369343" cy="866793"/>
        </a:xfrm>
        <a:prstGeom prst="rect">
          <a:avLst/>
        </a:prstGeom>
      </dgm:spPr>
    </dgm:pt>
    <dgm:pt modelId="{E9155F74-AFAA-4FCE-B6AC-481610170A45}" type="pres">
      <dgm:prSet presAssocID="{3A0EB6F6-AE92-42DD-8E49-61F17792D04B}" presName="vert2" presStyleCnt="0"/>
      <dgm:spPr/>
    </dgm:pt>
    <dgm:pt modelId="{6B742A5F-600B-43AF-B950-4AC98EF03266}" type="pres">
      <dgm:prSet presAssocID="{797FB601-B782-44B1-A92D-996E13FE5CA4}" presName="horz3" presStyleCnt="0"/>
      <dgm:spPr/>
    </dgm:pt>
    <dgm:pt modelId="{CA6814BE-8508-4020-B13D-277AB1A13C67}" type="pres">
      <dgm:prSet presAssocID="{797FB601-B782-44B1-A92D-996E13FE5CA4}" presName="horzSpace3" presStyleCnt="0"/>
      <dgm:spPr/>
    </dgm:pt>
    <dgm:pt modelId="{6603E52E-95DF-4439-8402-9F613481FFD1}" type="pres">
      <dgm:prSet presAssocID="{797FB601-B782-44B1-A92D-996E13FE5CA4}" presName="tx3" presStyleLbl="revTx" presStyleIdx="12" presStyleCnt="13"/>
      <dgm:spPr/>
    </dgm:pt>
    <dgm:pt modelId="{9551CBD5-58A5-4056-90A2-071DBCD81D37}" type="pres">
      <dgm:prSet presAssocID="{797FB601-B782-44B1-A92D-996E13FE5CA4}" presName="vert3" presStyleCnt="0"/>
      <dgm:spPr/>
    </dgm:pt>
    <dgm:pt modelId="{8D42EAA7-8431-4D03-9079-635095B5A99E}" type="pres">
      <dgm:prSet presAssocID="{3A0EB6F6-AE92-42DD-8E49-61F17792D04B}" presName="thinLine2b" presStyleLbl="callout" presStyleIdx="4" presStyleCnt="5"/>
      <dgm:spPr/>
    </dgm:pt>
    <dgm:pt modelId="{61CE85FB-6E5B-49C9-87D6-A40ACAC99009}" type="pres">
      <dgm:prSet presAssocID="{3A0EB6F6-AE92-42DD-8E49-61F17792D04B}" presName="vertSpace2b" presStyleCnt="0"/>
      <dgm:spPr/>
    </dgm:pt>
  </dgm:ptLst>
  <dgm:cxnLst>
    <dgm:cxn modelId="{435B2802-058D-4C23-A1FC-097BDDBB25E8}" type="presOf" srcId="{42A8D2FB-7134-47B2-9617-DD6FCAEDEDBE}" destId="{C36752E2-C357-4B45-A29C-F8EC1FD199E0}" srcOrd="0" destOrd="0" presId="urn:microsoft.com/office/officeart/2008/layout/LinedList"/>
    <dgm:cxn modelId="{1CEF6B07-EADC-4356-A6D5-6292618DC435}" type="presOf" srcId="{3A0EB6F6-AE92-42DD-8E49-61F17792D04B}" destId="{31AA0E48-E629-4A1F-84E4-86935EF341D2}" srcOrd="0" destOrd="0" presId="urn:microsoft.com/office/officeart/2008/layout/LinedList"/>
    <dgm:cxn modelId="{29AA671D-D110-4E08-BC49-BE227E997DC2}" srcId="{54315DF9-02F4-4FCF-9544-24B9576EFF96}" destId="{6418CCE0-65CB-4C07-8FB6-9C89AFC80B28}" srcOrd="0" destOrd="0" parTransId="{91920D38-AAC7-41C9-9F11-759160AE4DC7}" sibTransId="{B4ADED06-B33D-41B6-B7AB-3A541EF17BCA}"/>
    <dgm:cxn modelId="{C4293B22-A02C-4100-B341-55299CBAC129}" srcId="{AFB4F636-FAE5-47E0-8649-1F1B02EC2990}" destId="{45FB32F1-C127-4A45-8E8D-A2DE920E446E}" srcOrd="1" destOrd="0" parTransId="{BA7600AD-93DB-4392-937B-49C784101ECE}" sibTransId="{56584159-1F4B-4505-83A7-2DB481A317D9}"/>
    <dgm:cxn modelId="{4ACCAB2A-750A-4EA7-B6D8-6ECCDA989FB3}" srcId="{2B0B5CE9-2CEA-47CD-B469-52BC2AB2EB53}" destId="{AFB4F636-FAE5-47E0-8649-1F1B02EC2990}" srcOrd="0" destOrd="0" parTransId="{D8E2E52A-1BDF-424D-B4DA-FD3E42115562}" sibTransId="{ED393B3B-EE80-449F-A0BC-BD6E62AF6E86}"/>
    <dgm:cxn modelId="{7E9EE83A-6A20-4619-B657-B9F4FA13BF9E}" type="presOf" srcId="{0299C2E1-10F2-43D4-AA5B-3D85823A98BD}" destId="{718169AB-0FD1-4908-A801-75DAA5C50842}" srcOrd="0" destOrd="0" presId="urn:microsoft.com/office/officeart/2008/layout/LinedList"/>
    <dgm:cxn modelId="{8900F03A-4C55-460D-BF48-74C7247A2AE6}" type="presOf" srcId="{6418CCE0-65CB-4C07-8FB6-9C89AFC80B28}" destId="{93E06218-B209-4928-855A-F13352CA9344}" srcOrd="0" destOrd="0" presId="urn:microsoft.com/office/officeart/2008/layout/LinedList"/>
    <dgm:cxn modelId="{4807685F-6DC9-4CC2-89C5-2E3D4C360B52}" type="presOf" srcId="{C954C706-EF65-4D31-95CF-CD5B031D1E08}" destId="{8F71F20C-BE1E-4F90-8BA3-1D0212A56127}" srcOrd="0" destOrd="0" presId="urn:microsoft.com/office/officeart/2008/layout/LinedList"/>
    <dgm:cxn modelId="{A29BD444-620B-4DD1-A161-DCEB328CE922}" type="presOf" srcId="{797FB601-B782-44B1-A92D-996E13FE5CA4}" destId="{6603E52E-95DF-4439-8402-9F613481FFD1}" srcOrd="0" destOrd="0" presId="urn:microsoft.com/office/officeart/2008/layout/LinedList"/>
    <dgm:cxn modelId="{07104E69-0D3D-4E9A-99E1-8DE3C12FEE38}" type="presOf" srcId="{54315DF9-02F4-4FCF-9544-24B9576EFF96}" destId="{DEA036F4-4D9B-48B9-89B7-B2658DE4CE4D}" srcOrd="0" destOrd="0" presId="urn:microsoft.com/office/officeart/2008/layout/LinedList"/>
    <dgm:cxn modelId="{B67C8549-594E-4128-8DBD-350AB8C24D1C}" srcId="{3A0EB6F6-AE92-42DD-8E49-61F17792D04B}" destId="{797FB601-B782-44B1-A92D-996E13FE5CA4}" srcOrd="0" destOrd="0" parTransId="{DDDB8D55-25C4-4A0D-8EE9-F0F2542B5935}" sibTransId="{029B3BE8-D1F6-4527-BDC0-7D941DA1F9E6}"/>
    <dgm:cxn modelId="{499CCF72-C74E-4939-A8F1-F4EA2C838945}" type="presOf" srcId="{9CB84A9D-1AB5-4310-A832-F56B5C578002}" destId="{804086FF-BD4C-4D02-8E28-77121C82CF2C}" srcOrd="0" destOrd="0" presId="urn:microsoft.com/office/officeart/2008/layout/LinedList"/>
    <dgm:cxn modelId="{CDE53A54-5688-43B8-AED3-7043DED01610}" srcId="{84310D60-E56E-4CC7-8CB4-8175E1BCD8B7}" destId="{C954C706-EF65-4D31-95CF-CD5B031D1E08}" srcOrd="2" destOrd="0" parTransId="{A3210A32-9BE9-446B-AFCB-AE6694A4646D}" sibTransId="{4F76BB95-C126-4D77-8E2F-704B9629D217}"/>
    <dgm:cxn modelId="{41D40A7C-5292-418B-9652-772D2CB9C9EA}" type="presOf" srcId="{2B0B5CE9-2CEA-47CD-B469-52BC2AB2EB53}" destId="{43C21E66-6FF5-4198-9ADD-4AB69424E49F}" srcOrd="0" destOrd="0" presId="urn:microsoft.com/office/officeart/2008/layout/LinedList"/>
    <dgm:cxn modelId="{B6635081-09C8-483F-8772-2A98023DA512}" srcId="{AFB4F636-FAE5-47E0-8649-1F1B02EC2990}" destId="{9CB84A9D-1AB5-4310-A832-F56B5C578002}" srcOrd="0" destOrd="0" parTransId="{13B9365F-348A-4DE5-8DD9-BB65017ADA5A}" sibTransId="{CD63C3EB-9DDE-43E5-94A6-DBF6FA848196}"/>
    <dgm:cxn modelId="{6CAC0B91-B62B-48D9-9973-AC7FB88870DF}" srcId="{84310D60-E56E-4CC7-8CB4-8175E1BCD8B7}" destId="{31E4E801-8CB3-4500-B938-B22CCD3556F9}" srcOrd="0" destOrd="0" parTransId="{0BCB138E-24D8-49BD-96DD-8AB14A833C2E}" sibTransId="{DBB13854-6975-492C-9B9E-6968C7A7E1FC}"/>
    <dgm:cxn modelId="{B2983B95-8EFF-424E-8B55-F6A213F9E747}" srcId="{C954C706-EF65-4D31-95CF-CD5B031D1E08}" destId="{54315DF9-02F4-4FCF-9544-24B9576EFF96}" srcOrd="0" destOrd="0" parTransId="{2A1BA7A0-D318-4118-A939-6C9A4C348AC8}" sibTransId="{CC7085F7-E9F3-4B1B-8303-832FE342D3C9}"/>
    <dgm:cxn modelId="{2EF5DAA2-F4DA-4264-BEC4-13A1041893A2}" srcId="{42A8D2FB-7134-47B2-9617-DD6FCAEDEDBE}" destId="{3A0EB6F6-AE92-42DD-8E49-61F17792D04B}" srcOrd="0" destOrd="0" parTransId="{5571AF25-6156-461D-A80B-13007890F28A}" sibTransId="{6E9A69A0-B57A-497A-AB7A-07492C4799E4}"/>
    <dgm:cxn modelId="{C2B155A4-0B89-4D94-BDA3-B607D3ECB099}" type="presOf" srcId="{31E4E801-8CB3-4500-B938-B22CCD3556F9}" destId="{CDDBED3E-D6B3-45EA-901F-E062F2534651}" srcOrd="0" destOrd="0" presId="urn:microsoft.com/office/officeart/2008/layout/LinedList"/>
    <dgm:cxn modelId="{560E41AB-83AD-415D-B982-8D11C6BD385C}" type="presOf" srcId="{45FB32F1-C127-4A45-8E8D-A2DE920E446E}" destId="{8639A28C-AD7A-46A6-89CC-FD629542D662}" srcOrd="0" destOrd="0" presId="urn:microsoft.com/office/officeart/2008/layout/LinedList"/>
    <dgm:cxn modelId="{BF0B0DB2-3DE3-4613-8847-FF258B458740}" type="presOf" srcId="{84310D60-E56E-4CC7-8CB4-8175E1BCD8B7}" destId="{F30BFB1F-71CD-451D-A167-6C09F4E98357}" srcOrd="0" destOrd="0" presId="urn:microsoft.com/office/officeart/2008/layout/LinedList"/>
    <dgm:cxn modelId="{17DEB1C4-81BA-4788-A97B-5F3863788407}" srcId="{84310D60-E56E-4CC7-8CB4-8175E1BCD8B7}" destId="{42A8D2FB-7134-47B2-9617-DD6FCAEDEDBE}" srcOrd="3" destOrd="0" parTransId="{C496D48C-0166-457E-8BC7-6E72DA107791}" sibTransId="{16E66D29-731B-4511-98C1-609F76F1395A}"/>
    <dgm:cxn modelId="{2911CAC4-6B29-4F47-A90D-5B8CDCD77F9B}" srcId="{31E4E801-8CB3-4500-B938-B22CCD3556F9}" destId="{70149C24-14E0-41E5-A23D-80F7DDAC6986}" srcOrd="0" destOrd="0" parTransId="{759CE61A-032A-4AF0-B200-7716DF065215}" sibTransId="{55540974-890B-44A8-8EC9-53E56AFB4D02}"/>
    <dgm:cxn modelId="{FF8AD0E2-CA6E-40B5-852E-B735B7468490}" srcId="{70149C24-14E0-41E5-A23D-80F7DDAC6986}" destId="{0299C2E1-10F2-43D4-AA5B-3D85823A98BD}" srcOrd="0" destOrd="0" parTransId="{C8CD1A4C-5752-414D-9912-C4862D606F93}" sibTransId="{A7A57152-59DB-44AC-95F3-D44967205FBA}"/>
    <dgm:cxn modelId="{81DCD0E4-5470-461C-A341-80771DB1BA30}" srcId="{84310D60-E56E-4CC7-8CB4-8175E1BCD8B7}" destId="{2B0B5CE9-2CEA-47CD-B469-52BC2AB2EB53}" srcOrd="1" destOrd="0" parTransId="{F8E8A62A-D9CA-4972-8C11-A0BCB0060C82}" sibTransId="{95C9D0DC-57CE-4AA7-9773-411461D0F7A8}"/>
    <dgm:cxn modelId="{FDF7B9E5-078D-44B7-B45B-7317F8B76684}" type="presOf" srcId="{70149C24-14E0-41E5-A23D-80F7DDAC6986}" destId="{84C58614-7037-4AC5-B328-187E7C300F94}" srcOrd="0" destOrd="0" presId="urn:microsoft.com/office/officeart/2008/layout/LinedList"/>
    <dgm:cxn modelId="{DF1835ED-B322-45E1-AED6-11711514B993}" type="presOf" srcId="{AFB4F636-FAE5-47E0-8649-1F1B02EC2990}" destId="{E51757D3-76CF-4A64-A04D-A1C08C7A6F2A}" srcOrd="0" destOrd="0" presId="urn:microsoft.com/office/officeart/2008/layout/LinedList"/>
    <dgm:cxn modelId="{2FE63CF5-4D86-4D21-B93F-E1FC29D3886A}" type="presParOf" srcId="{F30BFB1F-71CD-451D-A167-6C09F4E98357}" destId="{8758DBA2-343B-4FAF-B2D0-839CCAD8BC56}" srcOrd="0" destOrd="0" presId="urn:microsoft.com/office/officeart/2008/layout/LinedList"/>
    <dgm:cxn modelId="{730B0F61-9166-4AE1-8770-454EB51D1975}" type="presParOf" srcId="{F30BFB1F-71CD-451D-A167-6C09F4E98357}" destId="{8F0D5ABA-487F-4BE2-80D7-C7537CF36CE5}" srcOrd="1" destOrd="0" presId="urn:microsoft.com/office/officeart/2008/layout/LinedList"/>
    <dgm:cxn modelId="{0499BED8-814C-4413-A14D-ABEA201A370E}" type="presParOf" srcId="{8F0D5ABA-487F-4BE2-80D7-C7537CF36CE5}" destId="{CDDBED3E-D6B3-45EA-901F-E062F2534651}" srcOrd="0" destOrd="0" presId="urn:microsoft.com/office/officeart/2008/layout/LinedList"/>
    <dgm:cxn modelId="{500B823B-6165-4041-8B70-6A3B80C7EB53}" type="presParOf" srcId="{8F0D5ABA-487F-4BE2-80D7-C7537CF36CE5}" destId="{AB84DCEF-F532-475D-BF20-D9EAD0CDE35F}" srcOrd="1" destOrd="0" presId="urn:microsoft.com/office/officeart/2008/layout/LinedList"/>
    <dgm:cxn modelId="{56B35B38-EF15-434C-BD0D-DF5AC677E8A0}" type="presParOf" srcId="{AB84DCEF-F532-475D-BF20-D9EAD0CDE35F}" destId="{40BE354B-05DB-4845-8278-5EECF4C4A7A7}" srcOrd="0" destOrd="0" presId="urn:microsoft.com/office/officeart/2008/layout/LinedList"/>
    <dgm:cxn modelId="{E9DBA1E9-209A-4746-A5DD-5FD6A79C42A7}" type="presParOf" srcId="{AB84DCEF-F532-475D-BF20-D9EAD0CDE35F}" destId="{28532809-9687-4CC7-A6F1-7EB3E265888A}" srcOrd="1" destOrd="0" presId="urn:microsoft.com/office/officeart/2008/layout/LinedList"/>
    <dgm:cxn modelId="{4C691787-9660-4006-A29E-EC761348FAC3}" type="presParOf" srcId="{28532809-9687-4CC7-A6F1-7EB3E265888A}" destId="{9DDA9327-1C36-40F0-B9F8-5C0691CAC8E6}" srcOrd="0" destOrd="0" presId="urn:microsoft.com/office/officeart/2008/layout/LinedList"/>
    <dgm:cxn modelId="{CEF6C784-B4F3-4153-B421-D739E2628B7D}" type="presParOf" srcId="{28532809-9687-4CC7-A6F1-7EB3E265888A}" destId="{84C58614-7037-4AC5-B328-187E7C300F94}" srcOrd="1" destOrd="0" presId="urn:microsoft.com/office/officeart/2008/layout/LinedList"/>
    <dgm:cxn modelId="{41D206A6-A776-4F69-8E09-468C54A29CAD}" type="presParOf" srcId="{28532809-9687-4CC7-A6F1-7EB3E265888A}" destId="{3519C762-22B9-452E-9D63-B08AEE711931}" srcOrd="2" destOrd="0" presId="urn:microsoft.com/office/officeart/2008/layout/LinedList"/>
    <dgm:cxn modelId="{524BFE21-E415-4FCD-B188-AD9DA79E89D1}" type="presParOf" srcId="{3519C762-22B9-452E-9D63-B08AEE711931}" destId="{EFCDBE41-9A7E-4C3A-9411-113C467EBDF6}" srcOrd="0" destOrd="0" presId="urn:microsoft.com/office/officeart/2008/layout/LinedList"/>
    <dgm:cxn modelId="{13FD0189-A094-438B-A9C7-A43419418AEF}" type="presParOf" srcId="{EFCDBE41-9A7E-4C3A-9411-113C467EBDF6}" destId="{F692DB52-83FA-4D34-A29D-E85A38465034}" srcOrd="0" destOrd="0" presId="urn:microsoft.com/office/officeart/2008/layout/LinedList"/>
    <dgm:cxn modelId="{50A41675-9DD4-4173-BBBE-DAD90ED37D2D}" type="presParOf" srcId="{EFCDBE41-9A7E-4C3A-9411-113C467EBDF6}" destId="{718169AB-0FD1-4908-A801-75DAA5C50842}" srcOrd="1" destOrd="0" presId="urn:microsoft.com/office/officeart/2008/layout/LinedList"/>
    <dgm:cxn modelId="{096CA472-D662-4F0C-9EA5-99B815DFED88}" type="presParOf" srcId="{EFCDBE41-9A7E-4C3A-9411-113C467EBDF6}" destId="{90D38AD2-7420-4B18-B445-6EE2BAA932F7}" srcOrd="2" destOrd="0" presId="urn:microsoft.com/office/officeart/2008/layout/LinedList"/>
    <dgm:cxn modelId="{1FB63F40-373E-43EA-8D69-AF9C9A6E5CCE}" type="presParOf" srcId="{AB84DCEF-F532-475D-BF20-D9EAD0CDE35F}" destId="{07AA2E4B-2FC5-4F2F-B6BB-647F130CE34C}" srcOrd="2" destOrd="0" presId="urn:microsoft.com/office/officeart/2008/layout/LinedList"/>
    <dgm:cxn modelId="{22E197B6-14E9-4846-8C8D-7AE4D954B9AF}" type="presParOf" srcId="{AB84DCEF-F532-475D-BF20-D9EAD0CDE35F}" destId="{05AAC90C-08A3-4966-A704-5C5CFDC3A7F9}" srcOrd="3" destOrd="0" presId="urn:microsoft.com/office/officeart/2008/layout/LinedList"/>
    <dgm:cxn modelId="{B2A955C4-01CC-4B83-BB98-1D9C42F087FB}" type="presParOf" srcId="{F30BFB1F-71CD-451D-A167-6C09F4E98357}" destId="{2C1DF126-C412-4199-9639-D1560F90BD19}" srcOrd="2" destOrd="0" presId="urn:microsoft.com/office/officeart/2008/layout/LinedList"/>
    <dgm:cxn modelId="{12911F86-073E-4683-9B4B-5BF5C7A46540}" type="presParOf" srcId="{F30BFB1F-71CD-451D-A167-6C09F4E98357}" destId="{FCA80EE3-E758-4B88-9F1E-D78C8EC2EDDF}" srcOrd="3" destOrd="0" presId="urn:microsoft.com/office/officeart/2008/layout/LinedList"/>
    <dgm:cxn modelId="{8C904D4F-7DF4-4E05-A17E-98CA6D887CCD}" type="presParOf" srcId="{FCA80EE3-E758-4B88-9F1E-D78C8EC2EDDF}" destId="{43C21E66-6FF5-4198-9ADD-4AB69424E49F}" srcOrd="0" destOrd="0" presId="urn:microsoft.com/office/officeart/2008/layout/LinedList"/>
    <dgm:cxn modelId="{5863BF12-B226-4510-9905-03996C026AAD}" type="presParOf" srcId="{FCA80EE3-E758-4B88-9F1E-D78C8EC2EDDF}" destId="{B33A23C0-0B1C-4FA4-AA38-EAE38F72359A}" srcOrd="1" destOrd="0" presId="urn:microsoft.com/office/officeart/2008/layout/LinedList"/>
    <dgm:cxn modelId="{D1D86030-98EC-47A2-826B-D21A90AA643C}" type="presParOf" srcId="{B33A23C0-0B1C-4FA4-AA38-EAE38F72359A}" destId="{B242F500-48F3-4209-A9A8-8AECAF2FBDA7}" srcOrd="0" destOrd="0" presId="urn:microsoft.com/office/officeart/2008/layout/LinedList"/>
    <dgm:cxn modelId="{DD000432-4B00-437E-80E8-703DFD3D6B13}" type="presParOf" srcId="{B33A23C0-0B1C-4FA4-AA38-EAE38F72359A}" destId="{CD04513C-4A78-4BD7-9B35-C05A37B91468}" srcOrd="1" destOrd="0" presId="urn:microsoft.com/office/officeart/2008/layout/LinedList"/>
    <dgm:cxn modelId="{4A16CEDB-C6D6-4577-A73E-CF6D48EBF073}" type="presParOf" srcId="{CD04513C-4A78-4BD7-9B35-C05A37B91468}" destId="{7F93D033-9764-4484-8131-0F367E2E681B}" srcOrd="0" destOrd="0" presId="urn:microsoft.com/office/officeart/2008/layout/LinedList"/>
    <dgm:cxn modelId="{53B1AB46-53D9-41B4-B190-33EE9983E82E}" type="presParOf" srcId="{CD04513C-4A78-4BD7-9B35-C05A37B91468}" destId="{E51757D3-76CF-4A64-A04D-A1C08C7A6F2A}" srcOrd="1" destOrd="0" presId="urn:microsoft.com/office/officeart/2008/layout/LinedList"/>
    <dgm:cxn modelId="{68B44505-B19C-4DF5-9DBD-8CFA8C0C6858}" type="presParOf" srcId="{CD04513C-4A78-4BD7-9B35-C05A37B91468}" destId="{58A57834-A45F-4C2E-BA93-714501039B4F}" srcOrd="2" destOrd="0" presId="urn:microsoft.com/office/officeart/2008/layout/LinedList"/>
    <dgm:cxn modelId="{F1EDD376-4A33-4EF2-B66C-FCABCA506D3D}" type="presParOf" srcId="{58A57834-A45F-4C2E-BA93-714501039B4F}" destId="{07AEF852-CB80-4512-9597-BEFEEAA94BE4}" srcOrd="0" destOrd="0" presId="urn:microsoft.com/office/officeart/2008/layout/LinedList"/>
    <dgm:cxn modelId="{20F0C11F-98A7-45F5-BC67-2B5271E6FD3A}" type="presParOf" srcId="{07AEF852-CB80-4512-9597-BEFEEAA94BE4}" destId="{9F5BB500-3282-4DA2-9DEF-3C91828DAC17}" srcOrd="0" destOrd="0" presId="urn:microsoft.com/office/officeart/2008/layout/LinedList"/>
    <dgm:cxn modelId="{46408EA3-72C0-4FC1-A641-E5CC662D004C}" type="presParOf" srcId="{07AEF852-CB80-4512-9597-BEFEEAA94BE4}" destId="{804086FF-BD4C-4D02-8E28-77121C82CF2C}" srcOrd="1" destOrd="0" presId="urn:microsoft.com/office/officeart/2008/layout/LinedList"/>
    <dgm:cxn modelId="{8FB0E88C-A062-4992-8DE9-CA768A314FFB}" type="presParOf" srcId="{07AEF852-CB80-4512-9597-BEFEEAA94BE4}" destId="{35B9FDE8-2699-4135-97A6-B0BEF0BB476B}" srcOrd="2" destOrd="0" presId="urn:microsoft.com/office/officeart/2008/layout/LinedList"/>
    <dgm:cxn modelId="{57D6C4D9-DE7C-4F0A-BC61-B9335BA7B89A}" type="presParOf" srcId="{58A57834-A45F-4C2E-BA93-714501039B4F}" destId="{59A70CAF-EF7B-4101-AD20-FA66B28EF028}" srcOrd="1" destOrd="0" presId="urn:microsoft.com/office/officeart/2008/layout/LinedList"/>
    <dgm:cxn modelId="{FED0F97E-D1EB-46E3-AB7C-B2170152FFEF}" type="presParOf" srcId="{58A57834-A45F-4C2E-BA93-714501039B4F}" destId="{300A68D8-5267-4360-B8BA-C77EEA39AF3F}" srcOrd="2" destOrd="0" presId="urn:microsoft.com/office/officeart/2008/layout/LinedList"/>
    <dgm:cxn modelId="{65A17765-5282-41AF-BFD6-F5347F022F29}" type="presParOf" srcId="{300A68D8-5267-4360-B8BA-C77EEA39AF3F}" destId="{D7DEF4B7-4431-49A7-BF58-5D7AE8465AE6}" srcOrd="0" destOrd="0" presId="urn:microsoft.com/office/officeart/2008/layout/LinedList"/>
    <dgm:cxn modelId="{9885C234-A46D-472F-8E4E-485BBF121F84}" type="presParOf" srcId="{300A68D8-5267-4360-B8BA-C77EEA39AF3F}" destId="{8639A28C-AD7A-46A6-89CC-FD629542D662}" srcOrd="1" destOrd="0" presId="urn:microsoft.com/office/officeart/2008/layout/LinedList"/>
    <dgm:cxn modelId="{A099DA38-07C3-421A-BA8D-D26066C7074A}" type="presParOf" srcId="{300A68D8-5267-4360-B8BA-C77EEA39AF3F}" destId="{28761063-BB1E-48A8-9839-DAB35BA629C5}" srcOrd="2" destOrd="0" presId="urn:microsoft.com/office/officeart/2008/layout/LinedList"/>
    <dgm:cxn modelId="{91254DAD-2780-49E8-A05C-D563C97CA171}" type="presParOf" srcId="{B33A23C0-0B1C-4FA4-AA38-EAE38F72359A}" destId="{1E6A02EF-3187-423A-BEB2-AF7CD908F185}" srcOrd="2" destOrd="0" presId="urn:microsoft.com/office/officeart/2008/layout/LinedList"/>
    <dgm:cxn modelId="{13CC88FD-6D27-4D79-9622-C028E4F91E33}" type="presParOf" srcId="{B33A23C0-0B1C-4FA4-AA38-EAE38F72359A}" destId="{8B83C0E6-DD3B-465A-BCB7-92E484F4C3D0}" srcOrd="3" destOrd="0" presId="urn:microsoft.com/office/officeart/2008/layout/LinedList"/>
    <dgm:cxn modelId="{3EC2F729-405E-433C-B8CA-DF5EB3BE9C6C}" type="presParOf" srcId="{F30BFB1F-71CD-451D-A167-6C09F4E98357}" destId="{0C8B9503-63C0-4520-BC14-DDEC3B4D072B}" srcOrd="4" destOrd="0" presId="urn:microsoft.com/office/officeart/2008/layout/LinedList"/>
    <dgm:cxn modelId="{CD8EF6E0-83AE-43DF-B1D5-25FEE634FE95}" type="presParOf" srcId="{F30BFB1F-71CD-451D-A167-6C09F4E98357}" destId="{67B9CEBE-C840-4698-BE80-A50A6138235D}" srcOrd="5" destOrd="0" presId="urn:microsoft.com/office/officeart/2008/layout/LinedList"/>
    <dgm:cxn modelId="{21DDCEDE-E31D-4F66-8DC0-97DA45B09D81}" type="presParOf" srcId="{67B9CEBE-C840-4698-BE80-A50A6138235D}" destId="{8F71F20C-BE1E-4F90-8BA3-1D0212A56127}" srcOrd="0" destOrd="0" presId="urn:microsoft.com/office/officeart/2008/layout/LinedList"/>
    <dgm:cxn modelId="{A6AD09BF-9651-453B-8E5D-A2A5D21F1AC0}" type="presParOf" srcId="{67B9CEBE-C840-4698-BE80-A50A6138235D}" destId="{170F9447-52A6-49A8-8C7E-791DDB250B29}" srcOrd="1" destOrd="0" presId="urn:microsoft.com/office/officeart/2008/layout/LinedList"/>
    <dgm:cxn modelId="{542F4132-E974-479B-95BF-EE7E32C48D9D}" type="presParOf" srcId="{170F9447-52A6-49A8-8C7E-791DDB250B29}" destId="{77CB27D8-D8EB-4B48-B6C3-4330F1ACE4B9}" srcOrd="0" destOrd="0" presId="urn:microsoft.com/office/officeart/2008/layout/LinedList"/>
    <dgm:cxn modelId="{8DDD20BC-6F7B-41AC-8453-BDD8F2493877}" type="presParOf" srcId="{170F9447-52A6-49A8-8C7E-791DDB250B29}" destId="{3290A2B1-375A-45F7-ADB0-9215DF2BDC25}" srcOrd="1" destOrd="0" presId="urn:microsoft.com/office/officeart/2008/layout/LinedList"/>
    <dgm:cxn modelId="{4F0D0C3D-5873-4A7B-A2CC-43DD6BA49C4E}" type="presParOf" srcId="{3290A2B1-375A-45F7-ADB0-9215DF2BDC25}" destId="{6244D28D-806D-4DBF-9E95-234779416465}" srcOrd="0" destOrd="0" presId="urn:microsoft.com/office/officeart/2008/layout/LinedList"/>
    <dgm:cxn modelId="{45EB3F7D-D0C2-46E2-916F-CC02F9288886}" type="presParOf" srcId="{3290A2B1-375A-45F7-ADB0-9215DF2BDC25}" destId="{DEA036F4-4D9B-48B9-89B7-B2658DE4CE4D}" srcOrd="1" destOrd="0" presId="urn:microsoft.com/office/officeart/2008/layout/LinedList"/>
    <dgm:cxn modelId="{2BFBD913-5C97-4C3E-BBD4-1D5E6634CCBE}" type="presParOf" srcId="{3290A2B1-375A-45F7-ADB0-9215DF2BDC25}" destId="{614438A7-5A3B-408C-B796-F1A0D39F3776}" srcOrd="2" destOrd="0" presId="urn:microsoft.com/office/officeart/2008/layout/LinedList"/>
    <dgm:cxn modelId="{719388CD-8161-48DA-BA4A-1948C1E34465}" type="presParOf" srcId="{614438A7-5A3B-408C-B796-F1A0D39F3776}" destId="{52999005-AC72-476B-B122-25995837F9CA}" srcOrd="0" destOrd="0" presId="urn:microsoft.com/office/officeart/2008/layout/LinedList"/>
    <dgm:cxn modelId="{17C6FF4C-9EF0-4B05-95C4-A81477D81824}" type="presParOf" srcId="{52999005-AC72-476B-B122-25995837F9CA}" destId="{227CEB18-DE89-4D65-BBE7-624946906277}" srcOrd="0" destOrd="0" presId="urn:microsoft.com/office/officeart/2008/layout/LinedList"/>
    <dgm:cxn modelId="{3126C022-BD37-4217-AF67-C24E045B7CEA}" type="presParOf" srcId="{52999005-AC72-476B-B122-25995837F9CA}" destId="{93E06218-B209-4928-855A-F13352CA9344}" srcOrd="1" destOrd="0" presId="urn:microsoft.com/office/officeart/2008/layout/LinedList"/>
    <dgm:cxn modelId="{21E4AA64-1AE4-4467-B30A-517C52AA2115}" type="presParOf" srcId="{52999005-AC72-476B-B122-25995837F9CA}" destId="{B9D62C5F-CD2C-4278-A844-40372A1AF29A}" srcOrd="2" destOrd="0" presId="urn:microsoft.com/office/officeart/2008/layout/LinedList"/>
    <dgm:cxn modelId="{8C602F06-114D-4226-8629-5DDC0A295A5C}" type="presParOf" srcId="{170F9447-52A6-49A8-8C7E-791DDB250B29}" destId="{BA360986-FE0F-4517-9E13-58CEBD9D77C1}" srcOrd="2" destOrd="0" presId="urn:microsoft.com/office/officeart/2008/layout/LinedList"/>
    <dgm:cxn modelId="{EA4C8198-EE50-46B7-AFBE-F1669696645D}" type="presParOf" srcId="{170F9447-52A6-49A8-8C7E-791DDB250B29}" destId="{6D15EB8E-26E2-4BF3-B1D8-3A8AEA9DE4C2}" srcOrd="3" destOrd="0" presId="urn:microsoft.com/office/officeart/2008/layout/LinedList"/>
    <dgm:cxn modelId="{5A63CBEA-10B2-40B0-8485-284688DF7AAE}" type="presParOf" srcId="{F30BFB1F-71CD-451D-A167-6C09F4E98357}" destId="{7D20B13A-EF89-4C0B-A462-AB01F7D03BFF}" srcOrd="6" destOrd="0" presId="urn:microsoft.com/office/officeart/2008/layout/LinedList"/>
    <dgm:cxn modelId="{8BDDB943-C8FA-4337-98AE-ECF69A22CC98}" type="presParOf" srcId="{F30BFB1F-71CD-451D-A167-6C09F4E98357}" destId="{7B8939D5-64F8-4D0C-A995-C0C9BAB24065}" srcOrd="7" destOrd="0" presId="urn:microsoft.com/office/officeart/2008/layout/LinedList"/>
    <dgm:cxn modelId="{9656BBA6-528D-401F-AA19-EE3FCFD3844D}" type="presParOf" srcId="{7B8939D5-64F8-4D0C-A995-C0C9BAB24065}" destId="{C36752E2-C357-4B45-A29C-F8EC1FD199E0}" srcOrd="0" destOrd="0" presId="urn:microsoft.com/office/officeart/2008/layout/LinedList"/>
    <dgm:cxn modelId="{892A68D8-5652-4F43-B4A2-C50F1E77AFF8}" type="presParOf" srcId="{7B8939D5-64F8-4D0C-A995-C0C9BAB24065}" destId="{C00C1696-DCF0-4074-AB74-0C4E48EDADE1}" srcOrd="1" destOrd="0" presId="urn:microsoft.com/office/officeart/2008/layout/LinedList"/>
    <dgm:cxn modelId="{18A8076A-B9F8-4E9E-8146-A1912DB13EE7}" type="presParOf" srcId="{C00C1696-DCF0-4074-AB74-0C4E48EDADE1}" destId="{D040586D-9D2C-43D2-AB44-2A3E6FF166C5}" srcOrd="0" destOrd="0" presId="urn:microsoft.com/office/officeart/2008/layout/LinedList"/>
    <dgm:cxn modelId="{7C055CD2-06F4-41DC-831C-E554FD91466A}" type="presParOf" srcId="{C00C1696-DCF0-4074-AB74-0C4E48EDADE1}" destId="{81A6655D-33EB-499B-A38A-3352E980CB49}" srcOrd="1" destOrd="0" presId="urn:microsoft.com/office/officeart/2008/layout/LinedList"/>
    <dgm:cxn modelId="{CCD4A946-7615-4EAB-91C1-599E111B4019}" type="presParOf" srcId="{81A6655D-33EB-499B-A38A-3352E980CB49}" destId="{F08827B7-34A5-4496-94C2-37E3B41F3C89}" srcOrd="0" destOrd="0" presId="urn:microsoft.com/office/officeart/2008/layout/LinedList"/>
    <dgm:cxn modelId="{2B9F1993-5268-4F54-9F6D-1943D1C5B835}" type="presParOf" srcId="{81A6655D-33EB-499B-A38A-3352E980CB49}" destId="{31AA0E48-E629-4A1F-84E4-86935EF341D2}" srcOrd="1" destOrd="0" presId="urn:microsoft.com/office/officeart/2008/layout/LinedList"/>
    <dgm:cxn modelId="{4988F313-4DE5-4E07-BF04-C4D3D715A140}" type="presParOf" srcId="{81A6655D-33EB-499B-A38A-3352E980CB49}" destId="{E9155F74-AFAA-4FCE-B6AC-481610170A45}" srcOrd="2" destOrd="0" presId="urn:microsoft.com/office/officeart/2008/layout/LinedList"/>
    <dgm:cxn modelId="{F9E8F9E0-2FEE-4451-B469-797C845336CD}" type="presParOf" srcId="{E9155F74-AFAA-4FCE-B6AC-481610170A45}" destId="{6B742A5F-600B-43AF-B950-4AC98EF03266}" srcOrd="0" destOrd="0" presId="urn:microsoft.com/office/officeart/2008/layout/LinedList"/>
    <dgm:cxn modelId="{FA276041-6F8E-48F6-9DCD-713766BF7A06}" type="presParOf" srcId="{6B742A5F-600B-43AF-B950-4AC98EF03266}" destId="{CA6814BE-8508-4020-B13D-277AB1A13C67}" srcOrd="0" destOrd="0" presId="urn:microsoft.com/office/officeart/2008/layout/LinedList"/>
    <dgm:cxn modelId="{D4ECDEA7-FA24-4A1E-ABC4-5926003F1D4B}" type="presParOf" srcId="{6B742A5F-600B-43AF-B950-4AC98EF03266}" destId="{6603E52E-95DF-4439-8402-9F613481FFD1}" srcOrd="1" destOrd="0" presId="urn:microsoft.com/office/officeart/2008/layout/LinedList"/>
    <dgm:cxn modelId="{5059ADB6-1D5C-4BA1-A73C-4448C2464358}" type="presParOf" srcId="{6B742A5F-600B-43AF-B950-4AC98EF03266}" destId="{9551CBD5-58A5-4056-90A2-071DBCD81D37}" srcOrd="2" destOrd="0" presId="urn:microsoft.com/office/officeart/2008/layout/LinedList"/>
    <dgm:cxn modelId="{057D4B71-9A01-43D7-A0D9-06E288281447}" type="presParOf" srcId="{C00C1696-DCF0-4074-AB74-0C4E48EDADE1}" destId="{8D42EAA7-8431-4D03-9079-635095B5A99E}" srcOrd="2" destOrd="0" presId="urn:microsoft.com/office/officeart/2008/layout/LinedList"/>
    <dgm:cxn modelId="{60C9D0AE-8387-424A-BB42-24C832579BC7}" type="presParOf" srcId="{C00C1696-DCF0-4074-AB74-0C4E48EDADE1}" destId="{61CE85FB-6E5B-49C9-87D6-A40ACAC99009}" srcOrd="3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4310D60-E56E-4CC7-8CB4-8175E1BCD8B7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B0B5CE9-2CEA-47CD-B469-52BC2AB2EB53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GB" dirty="0">
              <a:latin typeface="+mn-lt"/>
            </a:rPr>
            <a:t>2.</a:t>
          </a:r>
        </a:p>
      </dgm:t>
    </dgm:pt>
    <dgm:pt modelId="{F8E8A62A-D9CA-4972-8C11-A0BCB0060C82}" type="parTrans" cxnId="{81DCD0E4-5470-461C-A341-80771DB1BA30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95C9D0DC-57CE-4AA7-9773-411461D0F7A8}" type="sibTrans" cxnId="{81DCD0E4-5470-461C-A341-80771DB1BA30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31E4E801-8CB3-4500-B938-B22CCD3556F9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GB" dirty="0">
              <a:latin typeface="+mn-lt"/>
            </a:rPr>
            <a:t>1.</a:t>
          </a:r>
          <a:endParaRPr lang="en-GB" b="0" dirty="0">
            <a:latin typeface="+mn-lt"/>
          </a:endParaRPr>
        </a:p>
      </dgm:t>
    </dgm:pt>
    <dgm:pt modelId="{0BCB138E-24D8-49BD-96DD-8AB14A833C2E}" type="parTrans" cxnId="{6CAC0B91-B62B-48D9-9973-AC7FB88870DF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DBB13854-6975-492C-9B9E-6968C7A7E1FC}" type="sibTrans" cxnId="{6CAC0B91-B62B-48D9-9973-AC7FB88870DF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9CB84A9D-1AB5-4310-A832-F56B5C578002}">
      <dgm:prSet phldrT="[Text]" custT="1"/>
      <dgm:spPr/>
      <dgm:t>
        <a:bodyPr/>
        <a:lstStyle/>
        <a:p>
          <a:pPr>
            <a:lnSpc>
              <a:spcPct val="100000"/>
            </a:lnSpc>
            <a:buClrTx/>
            <a:buSzTx/>
            <a:buFontTx/>
            <a:buNone/>
          </a:pPr>
          <a:r>
            <a:rPr kumimoji="0" lang="nb-NO" sz="1200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Tusenvis av brukere med ulik bakgrunn og kunnskap</a:t>
          </a:r>
          <a:endParaRPr lang="en-GB" sz="1200" dirty="0">
            <a:latin typeface="+mn-lt"/>
          </a:endParaRPr>
        </a:p>
      </dgm:t>
    </dgm:pt>
    <dgm:pt modelId="{13B9365F-348A-4DE5-8DD9-BB65017ADA5A}" type="parTrans" cxnId="{B6635081-09C8-483F-8772-2A98023DA512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CD63C3EB-9DDE-43E5-94A6-DBF6FA848196}" type="sibTrans" cxnId="{B6635081-09C8-483F-8772-2A98023DA512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AFB4F636-FAE5-47E0-8649-1F1B02EC2990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kumimoji="0" lang="nb-NO" sz="2000" b="1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Sikre en stabil brukeropplevelse</a:t>
          </a:r>
          <a:endParaRPr lang="nb-NO" sz="2000" noProof="0" dirty="0">
            <a:latin typeface="+mn-lt"/>
          </a:endParaRPr>
        </a:p>
      </dgm:t>
    </dgm:pt>
    <dgm:pt modelId="{D8E2E52A-1BDF-424D-B4DA-FD3E42115562}" type="parTrans" cxnId="{4ACCAB2A-750A-4EA7-B6D8-6ECCDA989FB3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ED393B3B-EE80-449F-A0BC-BD6E62AF6E86}" type="sibTrans" cxnId="{4ACCAB2A-750A-4EA7-B6D8-6ECCDA989FB3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C954C706-EF65-4D31-95CF-CD5B031D1E08}">
      <dgm:prSet phldrT="[Text]"/>
      <dgm:spPr/>
      <dgm:t>
        <a:bodyPr/>
        <a:lstStyle/>
        <a:p>
          <a:pPr>
            <a:lnSpc>
              <a:spcPct val="100000"/>
            </a:lnSpc>
            <a:buClrTx/>
            <a:buSzTx/>
            <a:buFontTx/>
            <a:buNone/>
          </a:pPr>
          <a:r>
            <a:rPr kumimoji="0" lang="en-US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3.</a:t>
          </a:r>
          <a:endParaRPr lang="en-GB" dirty="0">
            <a:latin typeface="+mn-lt"/>
          </a:endParaRPr>
        </a:p>
      </dgm:t>
    </dgm:pt>
    <dgm:pt modelId="{A3210A32-9BE9-446B-AFCB-AE6694A4646D}" type="parTrans" cxnId="{CDE53A54-5688-43B8-AED3-7043DED01610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4F76BB95-C126-4D77-8E2F-704B9629D217}" type="sibTrans" cxnId="{CDE53A54-5688-43B8-AED3-7043DED01610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70149C24-14E0-41E5-A23D-80F7DDAC6986}">
      <dgm:prSet phldrT="[Text]"/>
      <dgm:spPr/>
      <dgm:t>
        <a:bodyPr/>
        <a:lstStyle/>
        <a:p>
          <a:pPr>
            <a:buClrTx/>
            <a:buSzTx/>
            <a:buFontTx/>
            <a:buNone/>
          </a:pPr>
          <a:r>
            <a:rPr kumimoji="0" lang="nb-NO" b="1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Integrasjon i forretningsprosess</a:t>
          </a:r>
          <a:endParaRPr kumimoji="0" lang="en-GB" b="1" i="0" u="none" strike="noStrike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+mn-lt"/>
            <a:ea typeface="p22-mackinac-pro" pitchFamily="34" charset="-122"/>
            <a:cs typeface="p22-mackinac-pro" pitchFamily="34" charset="-120"/>
          </a:endParaRPr>
        </a:p>
      </dgm:t>
    </dgm:pt>
    <dgm:pt modelId="{759CE61A-032A-4AF0-B200-7716DF065215}" type="parTrans" cxnId="{2911CAC4-6B29-4F47-A90D-5B8CDCD77F9B}">
      <dgm:prSet/>
      <dgm:spPr/>
      <dgm:t>
        <a:bodyPr/>
        <a:lstStyle/>
        <a:p>
          <a:endParaRPr lang="en-GB"/>
        </a:p>
      </dgm:t>
    </dgm:pt>
    <dgm:pt modelId="{55540974-890B-44A8-8EC9-53E56AFB4D02}" type="sibTrans" cxnId="{2911CAC4-6B29-4F47-A90D-5B8CDCD77F9B}">
      <dgm:prSet/>
      <dgm:spPr/>
      <dgm:t>
        <a:bodyPr/>
        <a:lstStyle/>
        <a:p>
          <a:endParaRPr lang="en-GB"/>
        </a:p>
      </dgm:t>
    </dgm:pt>
    <dgm:pt modelId="{0299C2E1-10F2-43D4-AA5B-3D85823A98BD}">
      <dgm:prSet phldrT="[Text]"/>
      <dgm:spPr/>
      <dgm:t>
        <a:bodyPr/>
        <a:lstStyle/>
        <a:p>
          <a:pPr>
            <a:buClrTx/>
            <a:buSzTx/>
            <a:buFontTx/>
            <a:buNone/>
          </a:pPr>
          <a:r>
            <a:rPr lang="en-US" dirty="0" err="1">
              <a:solidFill>
                <a:srgbClr val="272525"/>
              </a:solidFill>
              <a:latin typeface="+mn-lt"/>
              <a:ea typeface="Eudoxus Sans" pitchFamily="34" charset="-122"/>
            </a:rPr>
            <a:t>Forretningsregler</a:t>
          </a:r>
          <a:r>
            <a:rPr lang="en-US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dirty="0" err="1">
              <a:solidFill>
                <a:srgbClr val="272525"/>
              </a:solidFill>
              <a:latin typeface="+mn-lt"/>
              <a:ea typeface="Eudoxus Sans" pitchFamily="34" charset="-122"/>
            </a:rPr>
            <a:t>datastrukturer</a:t>
          </a:r>
          <a:r>
            <a:rPr lang="en-US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dirty="0" err="1">
              <a:solidFill>
                <a:srgbClr val="272525"/>
              </a:solidFill>
              <a:latin typeface="+mn-lt"/>
              <a:ea typeface="Eudoxus Sans" pitchFamily="34" charset="-122"/>
            </a:rPr>
            <a:t>tilgangsrettigheter</a:t>
          </a:r>
          <a:r>
            <a:rPr lang="en-US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dirty="0" err="1">
              <a:solidFill>
                <a:srgbClr val="272525"/>
              </a:solidFill>
              <a:latin typeface="+mn-lt"/>
              <a:ea typeface="Eudoxus Sans" pitchFamily="34" charset="-122"/>
            </a:rPr>
            <a:t>integrasjoner</a:t>
          </a:r>
          <a:r>
            <a:rPr lang="en-US" dirty="0">
              <a:solidFill>
                <a:srgbClr val="272525"/>
              </a:solidFill>
              <a:latin typeface="+mn-lt"/>
              <a:ea typeface="Eudoxus Sans" pitchFamily="34" charset="-122"/>
            </a:rPr>
            <a:t> …</a:t>
          </a:r>
          <a:endParaRPr lang="en-GB" dirty="0">
            <a:latin typeface="+mn-lt"/>
          </a:endParaRPr>
        </a:p>
      </dgm:t>
    </dgm:pt>
    <dgm:pt modelId="{C8CD1A4C-5752-414D-9912-C4862D606F93}" type="parTrans" cxnId="{FF8AD0E2-CA6E-40B5-852E-B735B7468490}">
      <dgm:prSet/>
      <dgm:spPr/>
      <dgm:t>
        <a:bodyPr/>
        <a:lstStyle/>
        <a:p>
          <a:endParaRPr lang="en-GB"/>
        </a:p>
      </dgm:t>
    </dgm:pt>
    <dgm:pt modelId="{A7A57152-59DB-44AC-95F3-D44967205FBA}" type="sibTrans" cxnId="{FF8AD0E2-CA6E-40B5-852E-B735B7468490}">
      <dgm:prSet/>
      <dgm:spPr/>
      <dgm:t>
        <a:bodyPr/>
        <a:lstStyle/>
        <a:p>
          <a:endParaRPr lang="en-GB"/>
        </a:p>
      </dgm:t>
    </dgm:pt>
    <dgm:pt modelId="{54315DF9-02F4-4FCF-9544-24B9576EFF96}">
      <dgm:prSet phldrT="[Text]" custT="1"/>
      <dgm:spPr>
        <a:noFill/>
        <a:ln>
          <a:noFill/>
        </a:ln>
        <a:effectLst/>
      </dgm:spPr>
      <dgm:t>
        <a:bodyPr spcFirstLastPara="0" vert="horz" wrap="square" lIns="76200" tIns="76200" rIns="76200" bIns="76200" numCol="1" spcCol="1270" anchor="t" anchorCtr="0"/>
        <a:lstStyle/>
        <a:p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nde-</a:t>
          </a: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til</a:t>
          </a: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-</a:t>
          </a: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nde-automatisering</a:t>
          </a:r>
          <a:endParaRPr kumimoji="0" lang="en-GB" sz="2000" b="1" i="0" u="none" strike="noStrike" kern="1200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Calibri" panose="020F0502020204030204"/>
            <a:ea typeface="p22-mackinac-pro" pitchFamily="34" charset="-122"/>
            <a:cs typeface="p22-mackinac-pro" pitchFamily="34" charset="-120"/>
          </a:endParaRPr>
        </a:p>
      </dgm:t>
    </dgm:pt>
    <dgm:pt modelId="{2A1BA7A0-D318-4118-A939-6C9A4C348AC8}" type="parTrans" cxnId="{B2983B95-8EFF-424E-8B55-F6A213F9E747}">
      <dgm:prSet/>
      <dgm:spPr/>
      <dgm:t>
        <a:bodyPr/>
        <a:lstStyle/>
        <a:p>
          <a:endParaRPr lang="en-GB"/>
        </a:p>
      </dgm:t>
    </dgm:pt>
    <dgm:pt modelId="{CC7085F7-E9F3-4B1B-8303-832FE342D3C9}" type="sibTrans" cxnId="{B2983B95-8EFF-424E-8B55-F6A213F9E747}">
      <dgm:prSet/>
      <dgm:spPr/>
      <dgm:t>
        <a:bodyPr/>
        <a:lstStyle/>
        <a:p>
          <a:endParaRPr lang="en-GB"/>
        </a:p>
      </dgm:t>
    </dgm:pt>
    <dgm:pt modelId="{6418CCE0-65CB-4C07-8FB6-9C89AFC80B28}">
      <dgm:prSet phldrT="[Text]"/>
      <dgm:spPr/>
      <dgm:t>
        <a:bodyPr/>
        <a:lstStyle/>
        <a:p>
          <a:pPr>
            <a:buClrTx/>
            <a:buSzTx/>
            <a:buFontTx/>
            <a:buNone/>
          </a:pP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"</a:t>
          </a: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out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of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the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box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" løsninger uten kompliserte </a:t>
          </a: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implementerigs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- prosjekter</a:t>
          </a:r>
          <a:endParaRPr lang="en-GB" dirty="0">
            <a:latin typeface="+mn-lt"/>
          </a:endParaRPr>
        </a:p>
      </dgm:t>
    </dgm:pt>
    <dgm:pt modelId="{91920D38-AAC7-41C9-9F11-759160AE4DC7}" type="parTrans" cxnId="{29AA671D-D110-4E08-BC49-BE227E997DC2}">
      <dgm:prSet/>
      <dgm:spPr/>
      <dgm:t>
        <a:bodyPr/>
        <a:lstStyle/>
        <a:p>
          <a:endParaRPr lang="en-GB"/>
        </a:p>
      </dgm:t>
    </dgm:pt>
    <dgm:pt modelId="{B4ADED06-B33D-41B6-B7AB-3A541EF17BCA}" type="sibTrans" cxnId="{29AA671D-D110-4E08-BC49-BE227E997DC2}">
      <dgm:prSet/>
      <dgm:spPr/>
      <dgm:t>
        <a:bodyPr/>
        <a:lstStyle/>
        <a:p>
          <a:endParaRPr lang="en-GB"/>
        </a:p>
      </dgm:t>
    </dgm:pt>
    <dgm:pt modelId="{45FB32F1-C127-4A45-8E8D-A2DE920E446E}">
      <dgm:prSet phldrT="[Text]" custT="1"/>
      <dgm:spPr/>
      <dgm:t>
        <a:bodyPr/>
        <a:lstStyle/>
        <a:p>
          <a:pPr>
            <a:lnSpc>
              <a:spcPct val="100000"/>
            </a:lnSpc>
            <a:buClrTx/>
            <a:buSzTx/>
            <a:buFontTx/>
            <a:buNone/>
          </a:pPr>
          <a:r>
            <a:rPr lang="en-GB" sz="1200" dirty="0" err="1">
              <a:latin typeface="+mn-lt"/>
            </a:rPr>
            <a:t>Begrenset</a:t>
          </a:r>
          <a:r>
            <a:rPr lang="en-GB" sz="1200" dirty="0">
              <a:latin typeface="+mn-lt"/>
            </a:rPr>
            <a:t> </a:t>
          </a:r>
          <a:r>
            <a:rPr lang="en-GB" sz="1200" dirty="0" err="1">
              <a:latin typeface="+mn-lt"/>
            </a:rPr>
            <a:t>kontroll</a:t>
          </a:r>
          <a:r>
            <a:rPr lang="en-GB" sz="1200" dirty="0">
              <a:latin typeface="+mn-lt"/>
            </a:rPr>
            <a:t> </a:t>
          </a:r>
          <a:r>
            <a:rPr lang="en-GB" sz="1200" dirty="0" err="1">
              <a:latin typeface="+mn-lt"/>
            </a:rPr>
            <a:t>på</a:t>
          </a:r>
          <a:r>
            <a:rPr lang="en-GB" sz="1200" dirty="0">
              <a:latin typeface="+mn-lt"/>
            </a:rPr>
            <a:t> LLM modeller</a:t>
          </a:r>
        </a:p>
      </dgm:t>
    </dgm:pt>
    <dgm:pt modelId="{BA7600AD-93DB-4392-937B-49C784101ECE}" type="parTrans" cxnId="{C4293B22-A02C-4100-B341-55299CBAC129}">
      <dgm:prSet/>
      <dgm:spPr/>
      <dgm:t>
        <a:bodyPr/>
        <a:lstStyle/>
        <a:p>
          <a:endParaRPr lang="en-GB"/>
        </a:p>
      </dgm:t>
    </dgm:pt>
    <dgm:pt modelId="{56584159-1F4B-4505-83A7-2DB481A317D9}" type="sibTrans" cxnId="{C4293B22-A02C-4100-B341-55299CBAC129}">
      <dgm:prSet/>
      <dgm:spPr/>
      <dgm:t>
        <a:bodyPr/>
        <a:lstStyle/>
        <a:p>
          <a:endParaRPr lang="en-GB"/>
        </a:p>
      </dgm:t>
    </dgm:pt>
    <dgm:pt modelId="{42A8D2FB-7134-47B2-9617-DD6FCAEDEDBE}">
      <dgm:prSet phldrT="[Text]"/>
      <dgm:spPr/>
      <dgm:t>
        <a:bodyPr/>
        <a:lstStyle/>
        <a:p>
          <a:pPr>
            <a:buClrTx/>
            <a:buSzTx/>
            <a:buFontTx/>
            <a:buNone/>
          </a:pPr>
          <a:r>
            <a:rPr lang="en-GB" dirty="0">
              <a:latin typeface="+mn-lt"/>
            </a:rPr>
            <a:t>4.</a:t>
          </a:r>
        </a:p>
      </dgm:t>
    </dgm:pt>
    <dgm:pt modelId="{C496D48C-0166-457E-8BC7-6E72DA107791}" type="parTrans" cxnId="{17DEB1C4-81BA-4788-A97B-5F3863788407}">
      <dgm:prSet/>
      <dgm:spPr/>
      <dgm:t>
        <a:bodyPr/>
        <a:lstStyle/>
        <a:p>
          <a:endParaRPr lang="en-GB"/>
        </a:p>
      </dgm:t>
    </dgm:pt>
    <dgm:pt modelId="{16E66D29-731B-4511-98C1-609F76F1395A}" type="sibTrans" cxnId="{17DEB1C4-81BA-4788-A97B-5F3863788407}">
      <dgm:prSet/>
      <dgm:spPr/>
      <dgm:t>
        <a:bodyPr/>
        <a:lstStyle/>
        <a:p>
          <a:endParaRPr lang="en-GB"/>
        </a:p>
      </dgm:t>
    </dgm:pt>
    <dgm:pt modelId="{3A0EB6F6-AE92-42DD-8E49-61F17792D04B}">
      <dgm:prSet phldrT="[Text]" custT="1"/>
      <dgm:spPr>
        <a:noFill/>
        <a:ln>
          <a:noFill/>
        </a:ln>
        <a:effectLst/>
      </dgm:spPr>
      <dgm:t>
        <a:bodyPr spcFirstLastPara="0" vert="horz" wrap="square" lIns="76200" tIns="76200" rIns="76200" bIns="76200" numCol="1" spcCol="1270" anchor="t" anchorCtr="0"/>
        <a:lstStyle/>
        <a:p>
          <a:pPr>
            <a:buClrTx/>
            <a:buSzTx/>
            <a:buFontTx/>
            <a:buNone/>
          </a:pP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ffektiv</a:t>
          </a: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 </a:t>
          </a:r>
          <a:b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</a:b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AI-Governance</a:t>
          </a:r>
          <a:endParaRPr lang="en-GB" sz="2000" kern="1200" dirty="0">
            <a:latin typeface="+mn-lt"/>
          </a:endParaRPr>
        </a:p>
      </dgm:t>
    </dgm:pt>
    <dgm:pt modelId="{5571AF25-6156-461D-A80B-13007890F28A}" type="parTrans" cxnId="{2EF5DAA2-F4DA-4264-BEC4-13A1041893A2}">
      <dgm:prSet/>
      <dgm:spPr/>
      <dgm:t>
        <a:bodyPr/>
        <a:lstStyle/>
        <a:p>
          <a:endParaRPr lang="en-GB"/>
        </a:p>
      </dgm:t>
    </dgm:pt>
    <dgm:pt modelId="{6E9A69A0-B57A-497A-AB7A-07492C4799E4}" type="sibTrans" cxnId="{2EF5DAA2-F4DA-4264-BEC4-13A1041893A2}">
      <dgm:prSet/>
      <dgm:spPr/>
      <dgm:t>
        <a:bodyPr/>
        <a:lstStyle/>
        <a:p>
          <a:endParaRPr lang="en-GB"/>
        </a:p>
      </dgm:t>
    </dgm:pt>
    <dgm:pt modelId="{797FB601-B782-44B1-A92D-996E13FE5CA4}">
      <dgm:prSet phldrT="[Text]"/>
      <dgm:spPr/>
      <dgm:t>
        <a:bodyPr/>
        <a:lstStyle/>
        <a:p>
          <a:pPr>
            <a:buClrTx/>
            <a:buSzTx/>
            <a:buFontTx/>
            <a:buNone/>
          </a:pP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Governance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prosess som holder tritt med fart og omfang av konsept innovasjon</a:t>
          </a:r>
          <a:endParaRPr kumimoji="0" lang="en-GB" b="0" i="0" u="none" strike="noStrike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+mn-lt"/>
            <a:ea typeface="Eudoxus Sans" pitchFamily="34" charset="-122"/>
            <a:cs typeface="Eudoxus Sans" pitchFamily="34" charset="-120"/>
          </a:endParaRPr>
        </a:p>
      </dgm:t>
    </dgm:pt>
    <dgm:pt modelId="{DDDB8D55-25C4-4A0D-8EE9-F0F2542B5935}" type="parTrans" cxnId="{B67C8549-594E-4128-8DBD-350AB8C24D1C}">
      <dgm:prSet/>
      <dgm:spPr/>
      <dgm:t>
        <a:bodyPr/>
        <a:lstStyle/>
        <a:p>
          <a:endParaRPr lang="en-GB"/>
        </a:p>
      </dgm:t>
    </dgm:pt>
    <dgm:pt modelId="{029B3BE8-D1F6-4527-BDC0-7D941DA1F9E6}" type="sibTrans" cxnId="{B67C8549-594E-4128-8DBD-350AB8C24D1C}">
      <dgm:prSet/>
      <dgm:spPr/>
      <dgm:t>
        <a:bodyPr/>
        <a:lstStyle/>
        <a:p>
          <a:endParaRPr lang="en-GB"/>
        </a:p>
      </dgm:t>
    </dgm:pt>
    <dgm:pt modelId="{F30BFB1F-71CD-451D-A167-6C09F4E98357}" type="pres">
      <dgm:prSet presAssocID="{84310D60-E56E-4CC7-8CB4-8175E1BCD8B7}" presName="vert0" presStyleCnt="0">
        <dgm:presLayoutVars>
          <dgm:dir/>
          <dgm:animOne val="branch"/>
          <dgm:animLvl val="lvl"/>
        </dgm:presLayoutVars>
      </dgm:prSet>
      <dgm:spPr/>
    </dgm:pt>
    <dgm:pt modelId="{8758DBA2-343B-4FAF-B2D0-839CCAD8BC56}" type="pres">
      <dgm:prSet presAssocID="{31E4E801-8CB3-4500-B938-B22CCD3556F9}" presName="thickLine" presStyleLbl="alignNode1" presStyleIdx="0" presStyleCnt="4"/>
      <dgm:spPr/>
    </dgm:pt>
    <dgm:pt modelId="{8F0D5ABA-487F-4BE2-80D7-C7537CF36CE5}" type="pres">
      <dgm:prSet presAssocID="{31E4E801-8CB3-4500-B938-B22CCD3556F9}" presName="horz1" presStyleCnt="0"/>
      <dgm:spPr/>
    </dgm:pt>
    <dgm:pt modelId="{CDDBED3E-D6B3-45EA-901F-E062F2534651}" type="pres">
      <dgm:prSet presAssocID="{31E4E801-8CB3-4500-B938-B22CCD3556F9}" presName="tx1" presStyleLbl="revTx" presStyleIdx="0" presStyleCnt="13"/>
      <dgm:spPr/>
    </dgm:pt>
    <dgm:pt modelId="{AB84DCEF-F532-475D-BF20-D9EAD0CDE35F}" type="pres">
      <dgm:prSet presAssocID="{31E4E801-8CB3-4500-B938-B22CCD3556F9}" presName="vert1" presStyleCnt="0"/>
      <dgm:spPr/>
    </dgm:pt>
    <dgm:pt modelId="{40BE354B-05DB-4845-8278-5EECF4C4A7A7}" type="pres">
      <dgm:prSet presAssocID="{70149C24-14E0-41E5-A23D-80F7DDAC6986}" presName="vertSpace2a" presStyleCnt="0"/>
      <dgm:spPr/>
    </dgm:pt>
    <dgm:pt modelId="{28532809-9687-4CC7-A6F1-7EB3E265888A}" type="pres">
      <dgm:prSet presAssocID="{70149C24-14E0-41E5-A23D-80F7DDAC6986}" presName="horz2" presStyleCnt="0"/>
      <dgm:spPr/>
    </dgm:pt>
    <dgm:pt modelId="{9DDA9327-1C36-40F0-B9F8-5C0691CAC8E6}" type="pres">
      <dgm:prSet presAssocID="{70149C24-14E0-41E5-A23D-80F7DDAC6986}" presName="horzSpace2" presStyleCnt="0"/>
      <dgm:spPr/>
    </dgm:pt>
    <dgm:pt modelId="{84C58614-7037-4AC5-B328-187E7C300F94}" type="pres">
      <dgm:prSet presAssocID="{70149C24-14E0-41E5-A23D-80F7DDAC6986}" presName="tx2" presStyleLbl="revTx" presStyleIdx="1" presStyleCnt="13"/>
      <dgm:spPr/>
    </dgm:pt>
    <dgm:pt modelId="{3519C762-22B9-452E-9D63-B08AEE711931}" type="pres">
      <dgm:prSet presAssocID="{70149C24-14E0-41E5-A23D-80F7DDAC6986}" presName="vert2" presStyleCnt="0"/>
      <dgm:spPr/>
    </dgm:pt>
    <dgm:pt modelId="{EFCDBE41-9A7E-4C3A-9411-113C467EBDF6}" type="pres">
      <dgm:prSet presAssocID="{0299C2E1-10F2-43D4-AA5B-3D85823A98BD}" presName="horz3" presStyleCnt="0"/>
      <dgm:spPr/>
    </dgm:pt>
    <dgm:pt modelId="{F692DB52-83FA-4D34-A29D-E85A38465034}" type="pres">
      <dgm:prSet presAssocID="{0299C2E1-10F2-43D4-AA5B-3D85823A98BD}" presName="horzSpace3" presStyleCnt="0"/>
      <dgm:spPr/>
    </dgm:pt>
    <dgm:pt modelId="{718169AB-0FD1-4908-A801-75DAA5C50842}" type="pres">
      <dgm:prSet presAssocID="{0299C2E1-10F2-43D4-AA5B-3D85823A98BD}" presName="tx3" presStyleLbl="revTx" presStyleIdx="2" presStyleCnt="13"/>
      <dgm:spPr/>
    </dgm:pt>
    <dgm:pt modelId="{90D38AD2-7420-4B18-B445-6EE2BAA932F7}" type="pres">
      <dgm:prSet presAssocID="{0299C2E1-10F2-43D4-AA5B-3D85823A98BD}" presName="vert3" presStyleCnt="0"/>
      <dgm:spPr/>
    </dgm:pt>
    <dgm:pt modelId="{07AA2E4B-2FC5-4F2F-B6BB-647F130CE34C}" type="pres">
      <dgm:prSet presAssocID="{70149C24-14E0-41E5-A23D-80F7DDAC6986}" presName="thinLine2b" presStyleLbl="callout" presStyleIdx="0" presStyleCnt="5"/>
      <dgm:spPr/>
    </dgm:pt>
    <dgm:pt modelId="{05AAC90C-08A3-4966-A704-5C5CFDC3A7F9}" type="pres">
      <dgm:prSet presAssocID="{70149C24-14E0-41E5-A23D-80F7DDAC6986}" presName="vertSpace2b" presStyleCnt="0"/>
      <dgm:spPr/>
    </dgm:pt>
    <dgm:pt modelId="{2C1DF126-C412-4199-9639-D1560F90BD19}" type="pres">
      <dgm:prSet presAssocID="{2B0B5CE9-2CEA-47CD-B469-52BC2AB2EB53}" presName="thickLine" presStyleLbl="alignNode1" presStyleIdx="1" presStyleCnt="4"/>
      <dgm:spPr/>
    </dgm:pt>
    <dgm:pt modelId="{FCA80EE3-E758-4B88-9F1E-D78C8EC2EDDF}" type="pres">
      <dgm:prSet presAssocID="{2B0B5CE9-2CEA-47CD-B469-52BC2AB2EB53}" presName="horz1" presStyleCnt="0"/>
      <dgm:spPr/>
    </dgm:pt>
    <dgm:pt modelId="{43C21E66-6FF5-4198-9ADD-4AB69424E49F}" type="pres">
      <dgm:prSet presAssocID="{2B0B5CE9-2CEA-47CD-B469-52BC2AB2EB53}" presName="tx1" presStyleLbl="revTx" presStyleIdx="3" presStyleCnt="13"/>
      <dgm:spPr/>
    </dgm:pt>
    <dgm:pt modelId="{B33A23C0-0B1C-4FA4-AA38-EAE38F72359A}" type="pres">
      <dgm:prSet presAssocID="{2B0B5CE9-2CEA-47CD-B469-52BC2AB2EB53}" presName="vert1" presStyleCnt="0"/>
      <dgm:spPr/>
    </dgm:pt>
    <dgm:pt modelId="{B242F500-48F3-4209-A9A8-8AECAF2FBDA7}" type="pres">
      <dgm:prSet presAssocID="{AFB4F636-FAE5-47E0-8649-1F1B02EC2990}" presName="vertSpace2a" presStyleCnt="0"/>
      <dgm:spPr/>
    </dgm:pt>
    <dgm:pt modelId="{CD04513C-4A78-4BD7-9B35-C05A37B91468}" type="pres">
      <dgm:prSet presAssocID="{AFB4F636-FAE5-47E0-8649-1F1B02EC2990}" presName="horz2" presStyleCnt="0"/>
      <dgm:spPr/>
    </dgm:pt>
    <dgm:pt modelId="{7F93D033-9764-4484-8131-0F367E2E681B}" type="pres">
      <dgm:prSet presAssocID="{AFB4F636-FAE5-47E0-8649-1F1B02EC2990}" presName="horzSpace2" presStyleCnt="0"/>
      <dgm:spPr/>
    </dgm:pt>
    <dgm:pt modelId="{E51757D3-76CF-4A64-A04D-A1C08C7A6F2A}" type="pres">
      <dgm:prSet presAssocID="{AFB4F636-FAE5-47E0-8649-1F1B02EC2990}" presName="tx2" presStyleLbl="revTx" presStyleIdx="4" presStyleCnt="13"/>
      <dgm:spPr/>
    </dgm:pt>
    <dgm:pt modelId="{58A57834-A45F-4C2E-BA93-714501039B4F}" type="pres">
      <dgm:prSet presAssocID="{AFB4F636-FAE5-47E0-8649-1F1B02EC2990}" presName="vert2" presStyleCnt="0"/>
      <dgm:spPr/>
    </dgm:pt>
    <dgm:pt modelId="{07AEF852-CB80-4512-9597-BEFEEAA94BE4}" type="pres">
      <dgm:prSet presAssocID="{9CB84A9D-1AB5-4310-A832-F56B5C578002}" presName="horz3" presStyleCnt="0"/>
      <dgm:spPr/>
    </dgm:pt>
    <dgm:pt modelId="{9F5BB500-3282-4DA2-9DEF-3C91828DAC17}" type="pres">
      <dgm:prSet presAssocID="{9CB84A9D-1AB5-4310-A832-F56B5C578002}" presName="horzSpace3" presStyleCnt="0"/>
      <dgm:spPr/>
    </dgm:pt>
    <dgm:pt modelId="{804086FF-BD4C-4D02-8E28-77121C82CF2C}" type="pres">
      <dgm:prSet presAssocID="{9CB84A9D-1AB5-4310-A832-F56B5C578002}" presName="tx3" presStyleLbl="revTx" presStyleIdx="5" presStyleCnt="13"/>
      <dgm:spPr/>
    </dgm:pt>
    <dgm:pt modelId="{35B9FDE8-2699-4135-97A6-B0BEF0BB476B}" type="pres">
      <dgm:prSet presAssocID="{9CB84A9D-1AB5-4310-A832-F56B5C578002}" presName="vert3" presStyleCnt="0"/>
      <dgm:spPr/>
    </dgm:pt>
    <dgm:pt modelId="{59A70CAF-EF7B-4101-AD20-FA66B28EF028}" type="pres">
      <dgm:prSet presAssocID="{CD63C3EB-9DDE-43E5-94A6-DBF6FA848196}" presName="thinLine3" presStyleLbl="callout" presStyleIdx="1" presStyleCnt="5"/>
      <dgm:spPr/>
    </dgm:pt>
    <dgm:pt modelId="{300A68D8-5267-4360-B8BA-C77EEA39AF3F}" type="pres">
      <dgm:prSet presAssocID="{45FB32F1-C127-4A45-8E8D-A2DE920E446E}" presName="horz3" presStyleCnt="0"/>
      <dgm:spPr/>
    </dgm:pt>
    <dgm:pt modelId="{D7DEF4B7-4431-49A7-BF58-5D7AE8465AE6}" type="pres">
      <dgm:prSet presAssocID="{45FB32F1-C127-4A45-8E8D-A2DE920E446E}" presName="horzSpace3" presStyleCnt="0"/>
      <dgm:spPr/>
    </dgm:pt>
    <dgm:pt modelId="{8639A28C-AD7A-46A6-89CC-FD629542D662}" type="pres">
      <dgm:prSet presAssocID="{45FB32F1-C127-4A45-8E8D-A2DE920E446E}" presName="tx3" presStyleLbl="revTx" presStyleIdx="6" presStyleCnt="13"/>
      <dgm:spPr/>
    </dgm:pt>
    <dgm:pt modelId="{28761063-BB1E-48A8-9839-DAB35BA629C5}" type="pres">
      <dgm:prSet presAssocID="{45FB32F1-C127-4A45-8E8D-A2DE920E446E}" presName="vert3" presStyleCnt="0"/>
      <dgm:spPr/>
    </dgm:pt>
    <dgm:pt modelId="{1E6A02EF-3187-423A-BEB2-AF7CD908F185}" type="pres">
      <dgm:prSet presAssocID="{AFB4F636-FAE5-47E0-8649-1F1B02EC2990}" presName="thinLine2b" presStyleLbl="callout" presStyleIdx="2" presStyleCnt="5"/>
      <dgm:spPr/>
    </dgm:pt>
    <dgm:pt modelId="{8B83C0E6-DD3B-465A-BCB7-92E484F4C3D0}" type="pres">
      <dgm:prSet presAssocID="{AFB4F636-FAE5-47E0-8649-1F1B02EC2990}" presName="vertSpace2b" presStyleCnt="0"/>
      <dgm:spPr/>
    </dgm:pt>
    <dgm:pt modelId="{0C8B9503-63C0-4520-BC14-DDEC3B4D072B}" type="pres">
      <dgm:prSet presAssocID="{C954C706-EF65-4D31-95CF-CD5B031D1E08}" presName="thickLine" presStyleLbl="alignNode1" presStyleIdx="2" presStyleCnt="4"/>
      <dgm:spPr/>
    </dgm:pt>
    <dgm:pt modelId="{67B9CEBE-C840-4698-BE80-A50A6138235D}" type="pres">
      <dgm:prSet presAssocID="{C954C706-EF65-4D31-95CF-CD5B031D1E08}" presName="horz1" presStyleCnt="0"/>
      <dgm:spPr/>
    </dgm:pt>
    <dgm:pt modelId="{8F71F20C-BE1E-4F90-8BA3-1D0212A56127}" type="pres">
      <dgm:prSet presAssocID="{C954C706-EF65-4D31-95CF-CD5B031D1E08}" presName="tx1" presStyleLbl="revTx" presStyleIdx="7" presStyleCnt="13"/>
      <dgm:spPr/>
    </dgm:pt>
    <dgm:pt modelId="{170F9447-52A6-49A8-8C7E-791DDB250B29}" type="pres">
      <dgm:prSet presAssocID="{C954C706-EF65-4D31-95CF-CD5B031D1E08}" presName="vert1" presStyleCnt="0"/>
      <dgm:spPr/>
    </dgm:pt>
    <dgm:pt modelId="{77CB27D8-D8EB-4B48-B6C3-4330F1ACE4B9}" type="pres">
      <dgm:prSet presAssocID="{54315DF9-02F4-4FCF-9544-24B9576EFF96}" presName="vertSpace2a" presStyleCnt="0"/>
      <dgm:spPr/>
    </dgm:pt>
    <dgm:pt modelId="{3290A2B1-375A-45F7-ADB0-9215DF2BDC25}" type="pres">
      <dgm:prSet presAssocID="{54315DF9-02F4-4FCF-9544-24B9576EFF96}" presName="horz2" presStyleCnt="0"/>
      <dgm:spPr/>
    </dgm:pt>
    <dgm:pt modelId="{6244D28D-806D-4DBF-9E95-234779416465}" type="pres">
      <dgm:prSet presAssocID="{54315DF9-02F4-4FCF-9544-24B9576EFF96}" presName="horzSpace2" presStyleCnt="0"/>
      <dgm:spPr/>
    </dgm:pt>
    <dgm:pt modelId="{DEA036F4-4D9B-48B9-89B7-B2658DE4CE4D}" type="pres">
      <dgm:prSet presAssocID="{54315DF9-02F4-4FCF-9544-24B9576EFF96}" presName="tx2" presStyleLbl="revTx" presStyleIdx="8" presStyleCnt="13"/>
      <dgm:spPr>
        <a:xfrm>
          <a:off x="1323139" y="1952149"/>
          <a:ext cx="2369343" cy="866793"/>
        </a:xfrm>
        <a:prstGeom prst="rect">
          <a:avLst/>
        </a:prstGeom>
      </dgm:spPr>
    </dgm:pt>
    <dgm:pt modelId="{614438A7-5A3B-408C-B796-F1A0D39F3776}" type="pres">
      <dgm:prSet presAssocID="{54315DF9-02F4-4FCF-9544-24B9576EFF96}" presName="vert2" presStyleCnt="0"/>
      <dgm:spPr/>
    </dgm:pt>
    <dgm:pt modelId="{52999005-AC72-476B-B122-25995837F9CA}" type="pres">
      <dgm:prSet presAssocID="{6418CCE0-65CB-4C07-8FB6-9C89AFC80B28}" presName="horz3" presStyleCnt="0"/>
      <dgm:spPr/>
    </dgm:pt>
    <dgm:pt modelId="{227CEB18-DE89-4D65-BBE7-624946906277}" type="pres">
      <dgm:prSet presAssocID="{6418CCE0-65CB-4C07-8FB6-9C89AFC80B28}" presName="horzSpace3" presStyleCnt="0"/>
      <dgm:spPr/>
    </dgm:pt>
    <dgm:pt modelId="{93E06218-B209-4928-855A-F13352CA9344}" type="pres">
      <dgm:prSet presAssocID="{6418CCE0-65CB-4C07-8FB6-9C89AFC80B28}" presName="tx3" presStyleLbl="revTx" presStyleIdx="9" presStyleCnt="13"/>
      <dgm:spPr/>
    </dgm:pt>
    <dgm:pt modelId="{B9D62C5F-CD2C-4278-A844-40372A1AF29A}" type="pres">
      <dgm:prSet presAssocID="{6418CCE0-65CB-4C07-8FB6-9C89AFC80B28}" presName="vert3" presStyleCnt="0"/>
      <dgm:spPr/>
    </dgm:pt>
    <dgm:pt modelId="{BA360986-FE0F-4517-9E13-58CEBD9D77C1}" type="pres">
      <dgm:prSet presAssocID="{54315DF9-02F4-4FCF-9544-24B9576EFF96}" presName="thinLine2b" presStyleLbl="callout" presStyleIdx="3" presStyleCnt="5"/>
      <dgm:spPr/>
    </dgm:pt>
    <dgm:pt modelId="{6D15EB8E-26E2-4BF3-B1D8-3A8AEA9DE4C2}" type="pres">
      <dgm:prSet presAssocID="{54315DF9-02F4-4FCF-9544-24B9576EFF96}" presName="vertSpace2b" presStyleCnt="0"/>
      <dgm:spPr/>
    </dgm:pt>
    <dgm:pt modelId="{7D20B13A-EF89-4C0B-A462-AB01F7D03BFF}" type="pres">
      <dgm:prSet presAssocID="{42A8D2FB-7134-47B2-9617-DD6FCAEDEDBE}" presName="thickLine" presStyleLbl="alignNode1" presStyleIdx="3" presStyleCnt="4"/>
      <dgm:spPr/>
    </dgm:pt>
    <dgm:pt modelId="{7B8939D5-64F8-4D0C-A995-C0C9BAB24065}" type="pres">
      <dgm:prSet presAssocID="{42A8D2FB-7134-47B2-9617-DD6FCAEDEDBE}" presName="horz1" presStyleCnt="0"/>
      <dgm:spPr/>
    </dgm:pt>
    <dgm:pt modelId="{C36752E2-C357-4B45-A29C-F8EC1FD199E0}" type="pres">
      <dgm:prSet presAssocID="{42A8D2FB-7134-47B2-9617-DD6FCAEDEDBE}" presName="tx1" presStyleLbl="revTx" presStyleIdx="10" presStyleCnt="13"/>
      <dgm:spPr/>
    </dgm:pt>
    <dgm:pt modelId="{C00C1696-DCF0-4074-AB74-0C4E48EDADE1}" type="pres">
      <dgm:prSet presAssocID="{42A8D2FB-7134-47B2-9617-DD6FCAEDEDBE}" presName="vert1" presStyleCnt="0"/>
      <dgm:spPr/>
    </dgm:pt>
    <dgm:pt modelId="{D040586D-9D2C-43D2-AB44-2A3E6FF166C5}" type="pres">
      <dgm:prSet presAssocID="{3A0EB6F6-AE92-42DD-8E49-61F17792D04B}" presName="vertSpace2a" presStyleCnt="0"/>
      <dgm:spPr/>
    </dgm:pt>
    <dgm:pt modelId="{81A6655D-33EB-499B-A38A-3352E980CB49}" type="pres">
      <dgm:prSet presAssocID="{3A0EB6F6-AE92-42DD-8E49-61F17792D04B}" presName="horz2" presStyleCnt="0"/>
      <dgm:spPr/>
    </dgm:pt>
    <dgm:pt modelId="{F08827B7-34A5-4496-94C2-37E3B41F3C89}" type="pres">
      <dgm:prSet presAssocID="{3A0EB6F6-AE92-42DD-8E49-61F17792D04B}" presName="horzSpace2" presStyleCnt="0"/>
      <dgm:spPr/>
    </dgm:pt>
    <dgm:pt modelId="{31AA0E48-E629-4A1F-84E4-86935EF341D2}" type="pres">
      <dgm:prSet presAssocID="{3A0EB6F6-AE92-42DD-8E49-61F17792D04B}" presName="tx2" presStyleLbl="revTx" presStyleIdx="11" presStyleCnt="13"/>
      <dgm:spPr>
        <a:xfrm>
          <a:off x="1323139" y="2906553"/>
          <a:ext cx="2369343" cy="866793"/>
        </a:xfrm>
        <a:prstGeom prst="rect">
          <a:avLst/>
        </a:prstGeom>
      </dgm:spPr>
    </dgm:pt>
    <dgm:pt modelId="{E9155F74-AFAA-4FCE-B6AC-481610170A45}" type="pres">
      <dgm:prSet presAssocID="{3A0EB6F6-AE92-42DD-8E49-61F17792D04B}" presName="vert2" presStyleCnt="0"/>
      <dgm:spPr/>
    </dgm:pt>
    <dgm:pt modelId="{6B742A5F-600B-43AF-B950-4AC98EF03266}" type="pres">
      <dgm:prSet presAssocID="{797FB601-B782-44B1-A92D-996E13FE5CA4}" presName="horz3" presStyleCnt="0"/>
      <dgm:spPr/>
    </dgm:pt>
    <dgm:pt modelId="{CA6814BE-8508-4020-B13D-277AB1A13C67}" type="pres">
      <dgm:prSet presAssocID="{797FB601-B782-44B1-A92D-996E13FE5CA4}" presName="horzSpace3" presStyleCnt="0"/>
      <dgm:spPr/>
    </dgm:pt>
    <dgm:pt modelId="{6603E52E-95DF-4439-8402-9F613481FFD1}" type="pres">
      <dgm:prSet presAssocID="{797FB601-B782-44B1-A92D-996E13FE5CA4}" presName="tx3" presStyleLbl="revTx" presStyleIdx="12" presStyleCnt="13"/>
      <dgm:spPr/>
    </dgm:pt>
    <dgm:pt modelId="{9551CBD5-58A5-4056-90A2-071DBCD81D37}" type="pres">
      <dgm:prSet presAssocID="{797FB601-B782-44B1-A92D-996E13FE5CA4}" presName="vert3" presStyleCnt="0"/>
      <dgm:spPr/>
    </dgm:pt>
    <dgm:pt modelId="{8D42EAA7-8431-4D03-9079-635095B5A99E}" type="pres">
      <dgm:prSet presAssocID="{3A0EB6F6-AE92-42DD-8E49-61F17792D04B}" presName="thinLine2b" presStyleLbl="callout" presStyleIdx="4" presStyleCnt="5"/>
      <dgm:spPr/>
    </dgm:pt>
    <dgm:pt modelId="{61CE85FB-6E5B-49C9-87D6-A40ACAC99009}" type="pres">
      <dgm:prSet presAssocID="{3A0EB6F6-AE92-42DD-8E49-61F17792D04B}" presName="vertSpace2b" presStyleCnt="0"/>
      <dgm:spPr/>
    </dgm:pt>
  </dgm:ptLst>
  <dgm:cxnLst>
    <dgm:cxn modelId="{435B2802-058D-4C23-A1FC-097BDDBB25E8}" type="presOf" srcId="{42A8D2FB-7134-47B2-9617-DD6FCAEDEDBE}" destId="{C36752E2-C357-4B45-A29C-F8EC1FD199E0}" srcOrd="0" destOrd="0" presId="urn:microsoft.com/office/officeart/2008/layout/LinedList"/>
    <dgm:cxn modelId="{1CEF6B07-EADC-4356-A6D5-6292618DC435}" type="presOf" srcId="{3A0EB6F6-AE92-42DD-8E49-61F17792D04B}" destId="{31AA0E48-E629-4A1F-84E4-86935EF341D2}" srcOrd="0" destOrd="0" presId="urn:microsoft.com/office/officeart/2008/layout/LinedList"/>
    <dgm:cxn modelId="{29AA671D-D110-4E08-BC49-BE227E997DC2}" srcId="{54315DF9-02F4-4FCF-9544-24B9576EFF96}" destId="{6418CCE0-65CB-4C07-8FB6-9C89AFC80B28}" srcOrd="0" destOrd="0" parTransId="{91920D38-AAC7-41C9-9F11-759160AE4DC7}" sibTransId="{B4ADED06-B33D-41B6-B7AB-3A541EF17BCA}"/>
    <dgm:cxn modelId="{C4293B22-A02C-4100-B341-55299CBAC129}" srcId="{AFB4F636-FAE5-47E0-8649-1F1B02EC2990}" destId="{45FB32F1-C127-4A45-8E8D-A2DE920E446E}" srcOrd="1" destOrd="0" parTransId="{BA7600AD-93DB-4392-937B-49C784101ECE}" sibTransId="{56584159-1F4B-4505-83A7-2DB481A317D9}"/>
    <dgm:cxn modelId="{4ACCAB2A-750A-4EA7-B6D8-6ECCDA989FB3}" srcId="{2B0B5CE9-2CEA-47CD-B469-52BC2AB2EB53}" destId="{AFB4F636-FAE5-47E0-8649-1F1B02EC2990}" srcOrd="0" destOrd="0" parTransId="{D8E2E52A-1BDF-424D-B4DA-FD3E42115562}" sibTransId="{ED393B3B-EE80-449F-A0BC-BD6E62AF6E86}"/>
    <dgm:cxn modelId="{7E9EE83A-6A20-4619-B657-B9F4FA13BF9E}" type="presOf" srcId="{0299C2E1-10F2-43D4-AA5B-3D85823A98BD}" destId="{718169AB-0FD1-4908-A801-75DAA5C50842}" srcOrd="0" destOrd="0" presId="urn:microsoft.com/office/officeart/2008/layout/LinedList"/>
    <dgm:cxn modelId="{8900F03A-4C55-460D-BF48-74C7247A2AE6}" type="presOf" srcId="{6418CCE0-65CB-4C07-8FB6-9C89AFC80B28}" destId="{93E06218-B209-4928-855A-F13352CA9344}" srcOrd="0" destOrd="0" presId="urn:microsoft.com/office/officeart/2008/layout/LinedList"/>
    <dgm:cxn modelId="{4807685F-6DC9-4CC2-89C5-2E3D4C360B52}" type="presOf" srcId="{C954C706-EF65-4D31-95CF-CD5B031D1E08}" destId="{8F71F20C-BE1E-4F90-8BA3-1D0212A56127}" srcOrd="0" destOrd="0" presId="urn:microsoft.com/office/officeart/2008/layout/LinedList"/>
    <dgm:cxn modelId="{A29BD444-620B-4DD1-A161-DCEB328CE922}" type="presOf" srcId="{797FB601-B782-44B1-A92D-996E13FE5CA4}" destId="{6603E52E-95DF-4439-8402-9F613481FFD1}" srcOrd="0" destOrd="0" presId="urn:microsoft.com/office/officeart/2008/layout/LinedList"/>
    <dgm:cxn modelId="{07104E69-0D3D-4E9A-99E1-8DE3C12FEE38}" type="presOf" srcId="{54315DF9-02F4-4FCF-9544-24B9576EFF96}" destId="{DEA036F4-4D9B-48B9-89B7-B2658DE4CE4D}" srcOrd="0" destOrd="0" presId="urn:microsoft.com/office/officeart/2008/layout/LinedList"/>
    <dgm:cxn modelId="{B67C8549-594E-4128-8DBD-350AB8C24D1C}" srcId="{3A0EB6F6-AE92-42DD-8E49-61F17792D04B}" destId="{797FB601-B782-44B1-A92D-996E13FE5CA4}" srcOrd="0" destOrd="0" parTransId="{DDDB8D55-25C4-4A0D-8EE9-F0F2542B5935}" sibTransId="{029B3BE8-D1F6-4527-BDC0-7D941DA1F9E6}"/>
    <dgm:cxn modelId="{499CCF72-C74E-4939-A8F1-F4EA2C838945}" type="presOf" srcId="{9CB84A9D-1AB5-4310-A832-F56B5C578002}" destId="{804086FF-BD4C-4D02-8E28-77121C82CF2C}" srcOrd="0" destOrd="0" presId="urn:microsoft.com/office/officeart/2008/layout/LinedList"/>
    <dgm:cxn modelId="{CDE53A54-5688-43B8-AED3-7043DED01610}" srcId="{84310D60-E56E-4CC7-8CB4-8175E1BCD8B7}" destId="{C954C706-EF65-4D31-95CF-CD5B031D1E08}" srcOrd="2" destOrd="0" parTransId="{A3210A32-9BE9-446B-AFCB-AE6694A4646D}" sibTransId="{4F76BB95-C126-4D77-8E2F-704B9629D217}"/>
    <dgm:cxn modelId="{41D40A7C-5292-418B-9652-772D2CB9C9EA}" type="presOf" srcId="{2B0B5CE9-2CEA-47CD-B469-52BC2AB2EB53}" destId="{43C21E66-6FF5-4198-9ADD-4AB69424E49F}" srcOrd="0" destOrd="0" presId="urn:microsoft.com/office/officeart/2008/layout/LinedList"/>
    <dgm:cxn modelId="{B6635081-09C8-483F-8772-2A98023DA512}" srcId="{AFB4F636-FAE5-47E0-8649-1F1B02EC2990}" destId="{9CB84A9D-1AB5-4310-A832-F56B5C578002}" srcOrd="0" destOrd="0" parTransId="{13B9365F-348A-4DE5-8DD9-BB65017ADA5A}" sibTransId="{CD63C3EB-9DDE-43E5-94A6-DBF6FA848196}"/>
    <dgm:cxn modelId="{6CAC0B91-B62B-48D9-9973-AC7FB88870DF}" srcId="{84310D60-E56E-4CC7-8CB4-8175E1BCD8B7}" destId="{31E4E801-8CB3-4500-B938-B22CCD3556F9}" srcOrd="0" destOrd="0" parTransId="{0BCB138E-24D8-49BD-96DD-8AB14A833C2E}" sibTransId="{DBB13854-6975-492C-9B9E-6968C7A7E1FC}"/>
    <dgm:cxn modelId="{B2983B95-8EFF-424E-8B55-F6A213F9E747}" srcId="{C954C706-EF65-4D31-95CF-CD5B031D1E08}" destId="{54315DF9-02F4-4FCF-9544-24B9576EFF96}" srcOrd="0" destOrd="0" parTransId="{2A1BA7A0-D318-4118-A939-6C9A4C348AC8}" sibTransId="{CC7085F7-E9F3-4B1B-8303-832FE342D3C9}"/>
    <dgm:cxn modelId="{2EF5DAA2-F4DA-4264-BEC4-13A1041893A2}" srcId="{42A8D2FB-7134-47B2-9617-DD6FCAEDEDBE}" destId="{3A0EB6F6-AE92-42DD-8E49-61F17792D04B}" srcOrd="0" destOrd="0" parTransId="{5571AF25-6156-461D-A80B-13007890F28A}" sibTransId="{6E9A69A0-B57A-497A-AB7A-07492C4799E4}"/>
    <dgm:cxn modelId="{C2B155A4-0B89-4D94-BDA3-B607D3ECB099}" type="presOf" srcId="{31E4E801-8CB3-4500-B938-B22CCD3556F9}" destId="{CDDBED3E-D6B3-45EA-901F-E062F2534651}" srcOrd="0" destOrd="0" presId="urn:microsoft.com/office/officeart/2008/layout/LinedList"/>
    <dgm:cxn modelId="{560E41AB-83AD-415D-B982-8D11C6BD385C}" type="presOf" srcId="{45FB32F1-C127-4A45-8E8D-A2DE920E446E}" destId="{8639A28C-AD7A-46A6-89CC-FD629542D662}" srcOrd="0" destOrd="0" presId="urn:microsoft.com/office/officeart/2008/layout/LinedList"/>
    <dgm:cxn modelId="{BF0B0DB2-3DE3-4613-8847-FF258B458740}" type="presOf" srcId="{84310D60-E56E-4CC7-8CB4-8175E1BCD8B7}" destId="{F30BFB1F-71CD-451D-A167-6C09F4E98357}" srcOrd="0" destOrd="0" presId="urn:microsoft.com/office/officeart/2008/layout/LinedList"/>
    <dgm:cxn modelId="{17DEB1C4-81BA-4788-A97B-5F3863788407}" srcId="{84310D60-E56E-4CC7-8CB4-8175E1BCD8B7}" destId="{42A8D2FB-7134-47B2-9617-DD6FCAEDEDBE}" srcOrd="3" destOrd="0" parTransId="{C496D48C-0166-457E-8BC7-6E72DA107791}" sibTransId="{16E66D29-731B-4511-98C1-609F76F1395A}"/>
    <dgm:cxn modelId="{2911CAC4-6B29-4F47-A90D-5B8CDCD77F9B}" srcId="{31E4E801-8CB3-4500-B938-B22CCD3556F9}" destId="{70149C24-14E0-41E5-A23D-80F7DDAC6986}" srcOrd="0" destOrd="0" parTransId="{759CE61A-032A-4AF0-B200-7716DF065215}" sibTransId="{55540974-890B-44A8-8EC9-53E56AFB4D02}"/>
    <dgm:cxn modelId="{FF8AD0E2-CA6E-40B5-852E-B735B7468490}" srcId="{70149C24-14E0-41E5-A23D-80F7DDAC6986}" destId="{0299C2E1-10F2-43D4-AA5B-3D85823A98BD}" srcOrd="0" destOrd="0" parTransId="{C8CD1A4C-5752-414D-9912-C4862D606F93}" sibTransId="{A7A57152-59DB-44AC-95F3-D44967205FBA}"/>
    <dgm:cxn modelId="{81DCD0E4-5470-461C-A341-80771DB1BA30}" srcId="{84310D60-E56E-4CC7-8CB4-8175E1BCD8B7}" destId="{2B0B5CE9-2CEA-47CD-B469-52BC2AB2EB53}" srcOrd="1" destOrd="0" parTransId="{F8E8A62A-D9CA-4972-8C11-A0BCB0060C82}" sibTransId="{95C9D0DC-57CE-4AA7-9773-411461D0F7A8}"/>
    <dgm:cxn modelId="{FDF7B9E5-078D-44B7-B45B-7317F8B76684}" type="presOf" srcId="{70149C24-14E0-41E5-A23D-80F7DDAC6986}" destId="{84C58614-7037-4AC5-B328-187E7C300F94}" srcOrd="0" destOrd="0" presId="urn:microsoft.com/office/officeart/2008/layout/LinedList"/>
    <dgm:cxn modelId="{DF1835ED-B322-45E1-AED6-11711514B993}" type="presOf" srcId="{AFB4F636-FAE5-47E0-8649-1F1B02EC2990}" destId="{E51757D3-76CF-4A64-A04D-A1C08C7A6F2A}" srcOrd="0" destOrd="0" presId="urn:microsoft.com/office/officeart/2008/layout/LinedList"/>
    <dgm:cxn modelId="{2FE63CF5-4D86-4D21-B93F-E1FC29D3886A}" type="presParOf" srcId="{F30BFB1F-71CD-451D-A167-6C09F4E98357}" destId="{8758DBA2-343B-4FAF-B2D0-839CCAD8BC56}" srcOrd="0" destOrd="0" presId="urn:microsoft.com/office/officeart/2008/layout/LinedList"/>
    <dgm:cxn modelId="{730B0F61-9166-4AE1-8770-454EB51D1975}" type="presParOf" srcId="{F30BFB1F-71CD-451D-A167-6C09F4E98357}" destId="{8F0D5ABA-487F-4BE2-80D7-C7537CF36CE5}" srcOrd="1" destOrd="0" presId="urn:microsoft.com/office/officeart/2008/layout/LinedList"/>
    <dgm:cxn modelId="{0499BED8-814C-4413-A14D-ABEA201A370E}" type="presParOf" srcId="{8F0D5ABA-487F-4BE2-80D7-C7537CF36CE5}" destId="{CDDBED3E-D6B3-45EA-901F-E062F2534651}" srcOrd="0" destOrd="0" presId="urn:microsoft.com/office/officeart/2008/layout/LinedList"/>
    <dgm:cxn modelId="{500B823B-6165-4041-8B70-6A3B80C7EB53}" type="presParOf" srcId="{8F0D5ABA-487F-4BE2-80D7-C7537CF36CE5}" destId="{AB84DCEF-F532-475D-BF20-D9EAD0CDE35F}" srcOrd="1" destOrd="0" presId="urn:microsoft.com/office/officeart/2008/layout/LinedList"/>
    <dgm:cxn modelId="{56B35B38-EF15-434C-BD0D-DF5AC677E8A0}" type="presParOf" srcId="{AB84DCEF-F532-475D-BF20-D9EAD0CDE35F}" destId="{40BE354B-05DB-4845-8278-5EECF4C4A7A7}" srcOrd="0" destOrd="0" presId="urn:microsoft.com/office/officeart/2008/layout/LinedList"/>
    <dgm:cxn modelId="{E9DBA1E9-209A-4746-A5DD-5FD6A79C42A7}" type="presParOf" srcId="{AB84DCEF-F532-475D-BF20-D9EAD0CDE35F}" destId="{28532809-9687-4CC7-A6F1-7EB3E265888A}" srcOrd="1" destOrd="0" presId="urn:microsoft.com/office/officeart/2008/layout/LinedList"/>
    <dgm:cxn modelId="{4C691787-9660-4006-A29E-EC761348FAC3}" type="presParOf" srcId="{28532809-9687-4CC7-A6F1-7EB3E265888A}" destId="{9DDA9327-1C36-40F0-B9F8-5C0691CAC8E6}" srcOrd="0" destOrd="0" presId="urn:microsoft.com/office/officeart/2008/layout/LinedList"/>
    <dgm:cxn modelId="{CEF6C784-B4F3-4153-B421-D739E2628B7D}" type="presParOf" srcId="{28532809-9687-4CC7-A6F1-7EB3E265888A}" destId="{84C58614-7037-4AC5-B328-187E7C300F94}" srcOrd="1" destOrd="0" presId="urn:microsoft.com/office/officeart/2008/layout/LinedList"/>
    <dgm:cxn modelId="{41D206A6-A776-4F69-8E09-468C54A29CAD}" type="presParOf" srcId="{28532809-9687-4CC7-A6F1-7EB3E265888A}" destId="{3519C762-22B9-452E-9D63-B08AEE711931}" srcOrd="2" destOrd="0" presId="urn:microsoft.com/office/officeart/2008/layout/LinedList"/>
    <dgm:cxn modelId="{524BFE21-E415-4FCD-B188-AD9DA79E89D1}" type="presParOf" srcId="{3519C762-22B9-452E-9D63-B08AEE711931}" destId="{EFCDBE41-9A7E-4C3A-9411-113C467EBDF6}" srcOrd="0" destOrd="0" presId="urn:microsoft.com/office/officeart/2008/layout/LinedList"/>
    <dgm:cxn modelId="{13FD0189-A094-438B-A9C7-A43419418AEF}" type="presParOf" srcId="{EFCDBE41-9A7E-4C3A-9411-113C467EBDF6}" destId="{F692DB52-83FA-4D34-A29D-E85A38465034}" srcOrd="0" destOrd="0" presId="urn:microsoft.com/office/officeart/2008/layout/LinedList"/>
    <dgm:cxn modelId="{50A41675-9DD4-4173-BBBE-DAD90ED37D2D}" type="presParOf" srcId="{EFCDBE41-9A7E-4C3A-9411-113C467EBDF6}" destId="{718169AB-0FD1-4908-A801-75DAA5C50842}" srcOrd="1" destOrd="0" presId="urn:microsoft.com/office/officeart/2008/layout/LinedList"/>
    <dgm:cxn modelId="{096CA472-D662-4F0C-9EA5-99B815DFED88}" type="presParOf" srcId="{EFCDBE41-9A7E-4C3A-9411-113C467EBDF6}" destId="{90D38AD2-7420-4B18-B445-6EE2BAA932F7}" srcOrd="2" destOrd="0" presId="urn:microsoft.com/office/officeart/2008/layout/LinedList"/>
    <dgm:cxn modelId="{1FB63F40-373E-43EA-8D69-AF9C9A6E5CCE}" type="presParOf" srcId="{AB84DCEF-F532-475D-BF20-D9EAD0CDE35F}" destId="{07AA2E4B-2FC5-4F2F-B6BB-647F130CE34C}" srcOrd="2" destOrd="0" presId="urn:microsoft.com/office/officeart/2008/layout/LinedList"/>
    <dgm:cxn modelId="{22E197B6-14E9-4846-8C8D-7AE4D954B9AF}" type="presParOf" srcId="{AB84DCEF-F532-475D-BF20-D9EAD0CDE35F}" destId="{05AAC90C-08A3-4966-A704-5C5CFDC3A7F9}" srcOrd="3" destOrd="0" presId="urn:microsoft.com/office/officeart/2008/layout/LinedList"/>
    <dgm:cxn modelId="{B2A955C4-01CC-4B83-BB98-1D9C42F087FB}" type="presParOf" srcId="{F30BFB1F-71CD-451D-A167-6C09F4E98357}" destId="{2C1DF126-C412-4199-9639-D1560F90BD19}" srcOrd="2" destOrd="0" presId="urn:microsoft.com/office/officeart/2008/layout/LinedList"/>
    <dgm:cxn modelId="{12911F86-073E-4683-9B4B-5BF5C7A46540}" type="presParOf" srcId="{F30BFB1F-71CD-451D-A167-6C09F4E98357}" destId="{FCA80EE3-E758-4B88-9F1E-D78C8EC2EDDF}" srcOrd="3" destOrd="0" presId="urn:microsoft.com/office/officeart/2008/layout/LinedList"/>
    <dgm:cxn modelId="{8C904D4F-7DF4-4E05-A17E-98CA6D887CCD}" type="presParOf" srcId="{FCA80EE3-E758-4B88-9F1E-D78C8EC2EDDF}" destId="{43C21E66-6FF5-4198-9ADD-4AB69424E49F}" srcOrd="0" destOrd="0" presId="urn:microsoft.com/office/officeart/2008/layout/LinedList"/>
    <dgm:cxn modelId="{5863BF12-B226-4510-9905-03996C026AAD}" type="presParOf" srcId="{FCA80EE3-E758-4B88-9F1E-D78C8EC2EDDF}" destId="{B33A23C0-0B1C-4FA4-AA38-EAE38F72359A}" srcOrd="1" destOrd="0" presId="urn:microsoft.com/office/officeart/2008/layout/LinedList"/>
    <dgm:cxn modelId="{D1D86030-98EC-47A2-826B-D21A90AA643C}" type="presParOf" srcId="{B33A23C0-0B1C-4FA4-AA38-EAE38F72359A}" destId="{B242F500-48F3-4209-A9A8-8AECAF2FBDA7}" srcOrd="0" destOrd="0" presId="urn:microsoft.com/office/officeart/2008/layout/LinedList"/>
    <dgm:cxn modelId="{DD000432-4B00-437E-80E8-703DFD3D6B13}" type="presParOf" srcId="{B33A23C0-0B1C-4FA4-AA38-EAE38F72359A}" destId="{CD04513C-4A78-4BD7-9B35-C05A37B91468}" srcOrd="1" destOrd="0" presId="urn:microsoft.com/office/officeart/2008/layout/LinedList"/>
    <dgm:cxn modelId="{4A16CEDB-C6D6-4577-A73E-CF6D48EBF073}" type="presParOf" srcId="{CD04513C-4A78-4BD7-9B35-C05A37B91468}" destId="{7F93D033-9764-4484-8131-0F367E2E681B}" srcOrd="0" destOrd="0" presId="urn:microsoft.com/office/officeart/2008/layout/LinedList"/>
    <dgm:cxn modelId="{53B1AB46-53D9-41B4-B190-33EE9983E82E}" type="presParOf" srcId="{CD04513C-4A78-4BD7-9B35-C05A37B91468}" destId="{E51757D3-76CF-4A64-A04D-A1C08C7A6F2A}" srcOrd="1" destOrd="0" presId="urn:microsoft.com/office/officeart/2008/layout/LinedList"/>
    <dgm:cxn modelId="{68B44505-B19C-4DF5-9DBD-8CFA8C0C6858}" type="presParOf" srcId="{CD04513C-4A78-4BD7-9B35-C05A37B91468}" destId="{58A57834-A45F-4C2E-BA93-714501039B4F}" srcOrd="2" destOrd="0" presId="urn:microsoft.com/office/officeart/2008/layout/LinedList"/>
    <dgm:cxn modelId="{F1EDD376-4A33-4EF2-B66C-FCABCA506D3D}" type="presParOf" srcId="{58A57834-A45F-4C2E-BA93-714501039B4F}" destId="{07AEF852-CB80-4512-9597-BEFEEAA94BE4}" srcOrd="0" destOrd="0" presId="urn:microsoft.com/office/officeart/2008/layout/LinedList"/>
    <dgm:cxn modelId="{20F0C11F-98A7-45F5-BC67-2B5271E6FD3A}" type="presParOf" srcId="{07AEF852-CB80-4512-9597-BEFEEAA94BE4}" destId="{9F5BB500-3282-4DA2-9DEF-3C91828DAC17}" srcOrd="0" destOrd="0" presId="urn:microsoft.com/office/officeart/2008/layout/LinedList"/>
    <dgm:cxn modelId="{46408EA3-72C0-4FC1-A641-E5CC662D004C}" type="presParOf" srcId="{07AEF852-CB80-4512-9597-BEFEEAA94BE4}" destId="{804086FF-BD4C-4D02-8E28-77121C82CF2C}" srcOrd="1" destOrd="0" presId="urn:microsoft.com/office/officeart/2008/layout/LinedList"/>
    <dgm:cxn modelId="{8FB0E88C-A062-4992-8DE9-CA768A314FFB}" type="presParOf" srcId="{07AEF852-CB80-4512-9597-BEFEEAA94BE4}" destId="{35B9FDE8-2699-4135-97A6-B0BEF0BB476B}" srcOrd="2" destOrd="0" presId="urn:microsoft.com/office/officeart/2008/layout/LinedList"/>
    <dgm:cxn modelId="{57D6C4D9-DE7C-4F0A-BC61-B9335BA7B89A}" type="presParOf" srcId="{58A57834-A45F-4C2E-BA93-714501039B4F}" destId="{59A70CAF-EF7B-4101-AD20-FA66B28EF028}" srcOrd="1" destOrd="0" presId="urn:microsoft.com/office/officeart/2008/layout/LinedList"/>
    <dgm:cxn modelId="{FED0F97E-D1EB-46E3-AB7C-B2170152FFEF}" type="presParOf" srcId="{58A57834-A45F-4C2E-BA93-714501039B4F}" destId="{300A68D8-5267-4360-B8BA-C77EEA39AF3F}" srcOrd="2" destOrd="0" presId="urn:microsoft.com/office/officeart/2008/layout/LinedList"/>
    <dgm:cxn modelId="{65A17765-5282-41AF-BFD6-F5347F022F29}" type="presParOf" srcId="{300A68D8-5267-4360-B8BA-C77EEA39AF3F}" destId="{D7DEF4B7-4431-49A7-BF58-5D7AE8465AE6}" srcOrd="0" destOrd="0" presId="urn:microsoft.com/office/officeart/2008/layout/LinedList"/>
    <dgm:cxn modelId="{9885C234-A46D-472F-8E4E-485BBF121F84}" type="presParOf" srcId="{300A68D8-5267-4360-B8BA-C77EEA39AF3F}" destId="{8639A28C-AD7A-46A6-89CC-FD629542D662}" srcOrd="1" destOrd="0" presId="urn:microsoft.com/office/officeart/2008/layout/LinedList"/>
    <dgm:cxn modelId="{A099DA38-07C3-421A-BA8D-D26066C7074A}" type="presParOf" srcId="{300A68D8-5267-4360-B8BA-C77EEA39AF3F}" destId="{28761063-BB1E-48A8-9839-DAB35BA629C5}" srcOrd="2" destOrd="0" presId="urn:microsoft.com/office/officeart/2008/layout/LinedList"/>
    <dgm:cxn modelId="{91254DAD-2780-49E8-A05C-D563C97CA171}" type="presParOf" srcId="{B33A23C0-0B1C-4FA4-AA38-EAE38F72359A}" destId="{1E6A02EF-3187-423A-BEB2-AF7CD908F185}" srcOrd="2" destOrd="0" presId="urn:microsoft.com/office/officeart/2008/layout/LinedList"/>
    <dgm:cxn modelId="{13CC88FD-6D27-4D79-9622-C028E4F91E33}" type="presParOf" srcId="{B33A23C0-0B1C-4FA4-AA38-EAE38F72359A}" destId="{8B83C0E6-DD3B-465A-BCB7-92E484F4C3D0}" srcOrd="3" destOrd="0" presId="urn:microsoft.com/office/officeart/2008/layout/LinedList"/>
    <dgm:cxn modelId="{3EC2F729-405E-433C-B8CA-DF5EB3BE9C6C}" type="presParOf" srcId="{F30BFB1F-71CD-451D-A167-6C09F4E98357}" destId="{0C8B9503-63C0-4520-BC14-DDEC3B4D072B}" srcOrd="4" destOrd="0" presId="urn:microsoft.com/office/officeart/2008/layout/LinedList"/>
    <dgm:cxn modelId="{CD8EF6E0-83AE-43DF-B1D5-25FEE634FE95}" type="presParOf" srcId="{F30BFB1F-71CD-451D-A167-6C09F4E98357}" destId="{67B9CEBE-C840-4698-BE80-A50A6138235D}" srcOrd="5" destOrd="0" presId="urn:microsoft.com/office/officeart/2008/layout/LinedList"/>
    <dgm:cxn modelId="{21DDCEDE-E31D-4F66-8DC0-97DA45B09D81}" type="presParOf" srcId="{67B9CEBE-C840-4698-BE80-A50A6138235D}" destId="{8F71F20C-BE1E-4F90-8BA3-1D0212A56127}" srcOrd="0" destOrd="0" presId="urn:microsoft.com/office/officeart/2008/layout/LinedList"/>
    <dgm:cxn modelId="{A6AD09BF-9651-453B-8E5D-A2A5D21F1AC0}" type="presParOf" srcId="{67B9CEBE-C840-4698-BE80-A50A6138235D}" destId="{170F9447-52A6-49A8-8C7E-791DDB250B29}" srcOrd="1" destOrd="0" presId="urn:microsoft.com/office/officeart/2008/layout/LinedList"/>
    <dgm:cxn modelId="{542F4132-E974-479B-95BF-EE7E32C48D9D}" type="presParOf" srcId="{170F9447-52A6-49A8-8C7E-791DDB250B29}" destId="{77CB27D8-D8EB-4B48-B6C3-4330F1ACE4B9}" srcOrd="0" destOrd="0" presId="urn:microsoft.com/office/officeart/2008/layout/LinedList"/>
    <dgm:cxn modelId="{8DDD20BC-6F7B-41AC-8453-BDD8F2493877}" type="presParOf" srcId="{170F9447-52A6-49A8-8C7E-791DDB250B29}" destId="{3290A2B1-375A-45F7-ADB0-9215DF2BDC25}" srcOrd="1" destOrd="0" presId="urn:microsoft.com/office/officeart/2008/layout/LinedList"/>
    <dgm:cxn modelId="{4F0D0C3D-5873-4A7B-A2CC-43DD6BA49C4E}" type="presParOf" srcId="{3290A2B1-375A-45F7-ADB0-9215DF2BDC25}" destId="{6244D28D-806D-4DBF-9E95-234779416465}" srcOrd="0" destOrd="0" presId="urn:microsoft.com/office/officeart/2008/layout/LinedList"/>
    <dgm:cxn modelId="{45EB3F7D-D0C2-46E2-916F-CC02F9288886}" type="presParOf" srcId="{3290A2B1-375A-45F7-ADB0-9215DF2BDC25}" destId="{DEA036F4-4D9B-48B9-89B7-B2658DE4CE4D}" srcOrd="1" destOrd="0" presId="urn:microsoft.com/office/officeart/2008/layout/LinedList"/>
    <dgm:cxn modelId="{2BFBD913-5C97-4C3E-BBD4-1D5E6634CCBE}" type="presParOf" srcId="{3290A2B1-375A-45F7-ADB0-9215DF2BDC25}" destId="{614438A7-5A3B-408C-B796-F1A0D39F3776}" srcOrd="2" destOrd="0" presId="urn:microsoft.com/office/officeart/2008/layout/LinedList"/>
    <dgm:cxn modelId="{719388CD-8161-48DA-BA4A-1948C1E34465}" type="presParOf" srcId="{614438A7-5A3B-408C-B796-F1A0D39F3776}" destId="{52999005-AC72-476B-B122-25995837F9CA}" srcOrd="0" destOrd="0" presId="urn:microsoft.com/office/officeart/2008/layout/LinedList"/>
    <dgm:cxn modelId="{17C6FF4C-9EF0-4B05-95C4-A81477D81824}" type="presParOf" srcId="{52999005-AC72-476B-B122-25995837F9CA}" destId="{227CEB18-DE89-4D65-BBE7-624946906277}" srcOrd="0" destOrd="0" presId="urn:microsoft.com/office/officeart/2008/layout/LinedList"/>
    <dgm:cxn modelId="{3126C022-BD37-4217-AF67-C24E045B7CEA}" type="presParOf" srcId="{52999005-AC72-476B-B122-25995837F9CA}" destId="{93E06218-B209-4928-855A-F13352CA9344}" srcOrd="1" destOrd="0" presId="urn:microsoft.com/office/officeart/2008/layout/LinedList"/>
    <dgm:cxn modelId="{21E4AA64-1AE4-4467-B30A-517C52AA2115}" type="presParOf" srcId="{52999005-AC72-476B-B122-25995837F9CA}" destId="{B9D62C5F-CD2C-4278-A844-40372A1AF29A}" srcOrd="2" destOrd="0" presId="urn:microsoft.com/office/officeart/2008/layout/LinedList"/>
    <dgm:cxn modelId="{8C602F06-114D-4226-8629-5DDC0A295A5C}" type="presParOf" srcId="{170F9447-52A6-49A8-8C7E-791DDB250B29}" destId="{BA360986-FE0F-4517-9E13-58CEBD9D77C1}" srcOrd="2" destOrd="0" presId="urn:microsoft.com/office/officeart/2008/layout/LinedList"/>
    <dgm:cxn modelId="{EA4C8198-EE50-46B7-AFBE-F1669696645D}" type="presParOf" srcId="{170F9447-52A6-49A8-8C7E-791DDB250B29}" destId="{6D15EB8E-26E2-4BF3-B1D8-3A8AEA9DE4C2}" srcOrd="3" destOrd="0" presId="urn:microsoft.com/office/officeart/2008/layout/LinedList"/>
    <dgm:cxn modelId="{5A63CBEA-10B2-40B0-8485-284688DF7AAE}" type="presParOf" srcId="{F30BFB1F-71CD-451D-A167-6C09F4E98357}" destId="{7D20B13A-EF89-4C0B-A462-AB01F7D03BFF}" srcOrd="6" destOrd="0" presId="urn:microsoft.com/office/officeart/2008/layout/LinedList"/>
    <dgm:cxn modelId="{8BDDB943-C8FA-4337-98AE-ECF69A22CC98}" type="presParOf" srcId="{F30BFB1F-71CD-451D-A167-6C09F4E98357}" destId="{7B8939D5-64F8-4D0C-A995-C0C9BAB24065}" srcOrd="7" destOrd="0" presId="urn:microsoft.com/office/officeart/2008/layout/LinedList"/>
    <dgm:cxn modelId="{9656BBA6-528D-401F-AA19-EE3FCFD3844D}" type="presParOf" srcId="{7B8939D5-64F8-4D0C-A995-C0C9BAB24065}" destId="{C36752E2-C357-4B45-A29C-F8EC1FD199E0}" srcOrd="0" destOrd="0" presId="urn:microsoft.com/office/officeart/2008/layout/LinedList"/>
    <dgm:cxn modelId="{892A68D8-5652-4F43-B4A2-C50F1E77AFF8}" type="presParOf" srcId="{7B8939D5-64F8-4D0C-A995-C0C9BAB24065}" destId="{C00C1696-DCF0-4074-AB74-0C4E48EDADE1}" srcOrd="1" destOrd="0" presId="urn:microsoft.com/office/officeart/2008/layout/LinedList"/>
    <dgm:cxn modelId="{18A8076A-B9F8-4E9E-8146-A1912DB13EE7}" type="presParOf" srcId="{C00C1696-DCF0-4074-AB74-0C4E48EDADE1}" destId="{D040586D-9D2C-43D2-AB44-2A3E6FF166C5}" srcOrd="0" destOrd="0" presId="urn:microsoft.com/office/officeart/2008/layout/LinedList"/>
    <dgm:cxn modelId="{7C055CD2-06F4-41DC-831C-E554FD91466A}" type="presParOf" srcId="{C00C1696-DCF0-4074-AB74-0C4E48EDADE1}" destId="{81A6655D-33EB-499B-A38A-3352E980CB49}" srcOrd="1" destOrd="0" presId="urn:microsoft.com/office/officeart/2008/layout/LinedList"/>
    <dgm:cxn modelId="{CCD4A946-7615-4EAB-91C1-599E111B4019}" type="presParOf" srcId="{81A6655D-33EB-499B-A38A-3352E980CB49}" destId="{F08827B7-34A5-4496-94C2-37E3B41F3C89}" srcOrd="0" destOrd="0" presId="urn:microsoft.com/office/officeart/2008/layout/LinedList"/>
    <dgm:cxn modelId="{2B9F1993-5268-4F54-9F6D-1943D1C5B835}" type="presParOf" srcId="{81A6655D-33EB-499B-A38A-3352E980CB49}" destId="{31AA0E48-E629-4A1F-84E4-86935EF341D2}" srcOrd="1" destOrd="0" presId="urn:microsoft.com/office/officeart/2008/layout/LinedList"/>
    <dgm:cxn modelId="{4988F313-4DE5-4E07-BF04-C4D3D715A140}" type="presParOf" srcId="{81A6655D-33EB-499B-A38A-3352E980CB49}" destId="{E9155F74-AFAA-4FCE-B6AC-481610170A45}" srcOrd="2" destOrd="0" presId="urn:microsoft.com/office/officeart/2008/layout/LinedList"/>
    <dgm:cxn modelId="{F9E8F9E0-2FEE-4451-B469-797C845336CD}" type="presParOf" srcId="{E9155F74-AFAA-4FCE-B6AC-481610170A45}" destId="{6B742A5F-600B-43AF-B950-4AC98EF03266}" srcOrd="0" destOrd="0" presId="urn:microsoft.com/office/officeart/2008/layout/LinedList"/>
    <dgm:cxn modelId="{FA276041-6F8E-48F6-9DCD-713766BF7A06}" type="presParOf" srcId="{6B742A5F-600B-43AF-B950-4AC98EF03266}" destId="{CA6814BE-8508-4020-B13D-277AB1A13C67}" srcOrd="0" destOrd="0" presId="urn:microsoft.com/office/officeart/2008/layout/LinedList"/>
    <dgm:cxn modelId="{D4ECDEA7-FA24-4A1E-ABC4-5926003F1D4B}" type="presParOf" srcId="{6B742A5F-600B-43AF-B950-4AC98EF03266}" destId="{6603E52E-95DF-4439-8402-9F613481FFD1}" srcOrd="1" destOrd="0" presId="urn:microsoft.com/office/officeart/2008/layout/LinedList"/>
    <dgm:cxn modelId="{5059ADB6-1D5C-4BA1-A73C-4448C2464358}" type="presParOf" srcId="{6B742A5F-600B-43AF-B950-4AC98EF03266}" destId="{9551CBD5-58A5-4056-90A2-071DBCD81D37}" srcOrd="2" destOrd="0" presId="urn:microsoft.com/office/officeart/2008/layout/LinedList"/>
    <dgm:cxn modelId="{057D4B71-9A01-43D7-A0D9-06E288281447}" type="presParOf" srcId="{C00C1696-DCF0-4074-AB74-0C4E48EDADE1}" destId="{8D42EAA7-8431-4D03-9079-635095B5A99E}" srcOrd="2" destOrd="0" presId="urn:microsoft.com/office/officeart/2008/layout/LinedList"/>
    <dgm:cxn modelId="{60C9D0AE-8387-424A-BB42-24C832579BC7}" type="presParOf" srcId="{C00C1696-DCF0-4074-AB74-0C4E48EDADE1}" destId="{61CE85FB-6E5B-49C9-87D6-A40ACAC99009}" srcOrd="3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4310D60-E56E-4CC7-8CB4-8175E1BCD8B7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B0B5CE9-2CEA-47CD-B469-52BC2AB2EB53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GB" dirty="0">
              <a:latin typeface="+mn-lt"/>
            </a:rPr>
            <a:t>2.</a:t>
          </a:r>
        </a:p>
      </dgm:t>
    </dgm:pt>
    <dgm:pt modelId="{F8E8A62A-D9CA-4972-8C11-A0BCB0060C82}" type="parTrans" cxnId="{81DCD0E4-5470-461C-A341-80771DB1BA30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95C9D0DC-57CE-4AA7-9773-411461D0F7A8}" type="sibTrans" cxnId="{81DCD0E4-5470-461C-A341-80771DB1BA30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31E4E801-8CB3-4500-B938-B22CCD3556F9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GB" dirty="0">
              <a:latin typeface="+mn-lt"/>
            </a:rPr>
            <a:t>1.</a:t>
          </a:r>
          <a:endParaRPr lang="en-GB" b="0" dirty="0">
            <a:latin typeface="+mn-lt"/>
          </a:endParaRPr>
        </a:p>
      </dgm:t>
    </dgm:pt>
    <dgm:pt modelId="{0BCB138E-24D8-49BD-96DD-8AB14A833C2E}" type="parTrans" cxnId="{6CAC0B91-B62B-48D9-9973-AC7FB88870DF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DBB13854-6975-492C-9B9E-6968C7A7E1FC}" type="sibTrans" cxnId="{6CAC0B91-B62B-48D9-9973-AC7FB88870DF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9CB84A9D-1AB5-4310-A832-F56B5C578002}">
      <dgm:prSet phldrT="[Text]" custT="1"/>
      <dgm:spPr/>
      <dgm:t>
        <a:bodyPr/>
        <a:lstStyle/>
        <a:p>
          <a:pPr>
            <a:lnSpc>
              <a:spcPct val="100000"/>
            </a:lnSpc>
            <a:buClrTx/>
            <a:buSzTx/>
            <a:buFontTx/>
            <a:buNone/>
          </a:pPr>
          <a:r>
            <a:rPr kumimoji="0" lang="nb-NO" sz="1200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Tusenvis av brukere med ulik bakgrunn og kunnskap</a:t>
          </a:r>
          <a:endParaRPr lang="en-GB" sz="1200" dirty="0">
            <a:latin typeface="+mn-lt"/>
          </a:endParaRPr>
        </a:p>
      </dgm:t>
    </dgm:pt>
    <dgm:pt modelId="{13B9365F-348A-4DE5-8DD9-BB65017ADA5A}" type="parTrans" cxnId="{B6635081-09C8-483F-8772-2A98023DA512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CD63C3EB-9DDE-43E5-94A6-DBF6FA848196}" type="sibTrans" cxnId="{B6635081-09C8-483F-8772-2A98023DA512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AFB4F636-FAE5-47E0-8649-1F1B02EC2990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kumimoji="0" lang="nb-NO" sz="2000" b="1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Sikre en stabil brukeropplevelse</a:t>
          </a:r>
          <a:endParaRPr lang="nb-NO" sz="2000" noProof="0" dirty="0">
            <a:latin typeface="+mn-lt"/>
          </a:endParaRPr>
        </a:p>
      </dgm:t>
    </dgm:pt>
    <dgm:pt modelId="{D8E2E52A-1BDF-424D-B4DA-FD3E42115562}" type="parTrans" cxnId="{4ACCAB2A-750A-4EA7-B6D8-6ECCDA989FB3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ED393B3B-EE80-449F-A0BC-BD6E62AF6E86}" type="sibTrans" cxnId="{4ACCAB2A-750A-4EA7-B6D8-6ECCDA989FB3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C954C706-EF65-4D31-95CF-CD5B031D1E08}">
      <dgm:prSet phldrT="[Text]"/>
      <dgm:spPr/>
      <dgm:t>
        <a:bodyPr/>
        <a:lstStyle/>
        <a:p>
          <a:pPr>
            <a:lnSpc>
              <a:spcPct val="100000"/>
            </a:lnSpc>
            <a:buClrTx/>
            <a:buSzTx/>
            <a:buFontTx/>
            <a:buNone/>
          </a:pPr>
          <a:r>
            <a:rPr kumimoji="0" lang="en-US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3.</a:t>
          </a:r>
          <a:endParaRPr lang="en-GB" dirty="0">
            <a:latin typeface="+mn-lt"/>
          </a:endParaRPr>
        </a:p>
      </dgm:t>
    </dgm:pt>
    <dgm:pt modelId="{A3210A32-9BE9-446B-AFCB-AE6694A4646D}" type="parTrans" cxnId="{CDE53A54-5688-43B8-AED3-7043DED01610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4F76BB95-C126-4D77-8E2F-704B9629D217}" type="sibTrans" cxnId="{CDE53A54-5688-43B8-AED3-7043DED01610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70149C24-14E0-41E5-A23D-80F7DDAC6986}">
      <dgm:prSet phldrT="[Text]"/>
      <dgm:spPr/>
      <dgm:t>
        <a:bodyPr/>
        <a:lstStyle/>
        <a:p>
          <a:pPr>
            <a:buClrTx/>
            <a:buSzTx/>
            <a:buFontTx/>
            <a:buNone/>
          </a:pPr>
          <a:r>
            <a:rPr kumimoji="0" lang="nb-NO" b="1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Integrasjon i forretningsprosess</a:t>
          </a:r>
          <a:endParaRPr kumimoji="0" lang="en-GB" b="1" i="0" u="none" strike="noStrike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+mn-lt"/>
            <a:ea typeface="p22-mackinac-pro" pitchFamily="34" charset="-122"/>
            <a:cs typeface="p22-mackinac-pro" pitchFamily="34" charset="-120"/>
          </a:endParaRPr>
        </a:p>
      </dgm:t>
    </dgm:pt>
    <dgm:pt modelId="{759CE61A-032A-4AF0-B200-7716DF065215}" type="parTrans" cxnId="{2911CAC4-6B29-4F47-A90D-5B8CDCD77F9B}">
      <dgm:prSet/>
      <dgm:spPr/>
      <dgm:t>
        <a:bodyPr/>
        <a:lstStyle/>
        <a:p>
          <a:endParaRPr lang="en-GB"/>
        </a:p>
      </dgm:t>
    </dgm:pt>
    <dgm:pt modelId="{55540974-890B-44A8-8EC9-53E56AFB4D02}" type="sibTrans" cxnId="{2911CAC4-6B29-4F47-A90D-5B8CDCD77F9B}">
      <dgm:prSet/>
      <dgm:spPr/>
      <dgm:t>
        <a:bodyPr/>
        <a:lstStyle/>
        <a:p>
          <a:endParaRPr lang="en-GB"/>
        </a:p>
      </dgm:t>
    </dgm:pt>
    <dgm:pt modelId="{0299C2E1-10F2-43D4-AA5B-3D85823A98BD}">
      <dgm:prSet phldrT="[Text]"/>
      <dgm:spPr/>
      <dgm:t>
        <a:bodyPr/>
        <a:lstStyle/>
        <a:p>
          <a:pPr>
            <a:buClrTx/>
            <a:buSzTx/>
            <a:buFontTx/>
            <a:buNone/>
          </a:pPr>
          <a:r>
            <a:rPr lang="en-US" dirty="0" err="1">
              <a:solidFill>
                <a:srgbClr val="272525"/>
              </a:solidFill>
              <a:latin typeface="+mn-lt"/>
              <a:ea typeface="Eudoxus Sans" pitchFamily="34" charset="-122"/>
            </a:rPr>
            <a:t>Forretningsregler</a:t>
          </a:r>
          <a:r>
            <a:rPr lang="en-US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dirty="0" err="1">
              <a:solidFill>
                <a:srgbClr val="272525"/>
              </a:solidFill>
              <a:latin typeface="+mn-lt"/>
              <a:ea typeface="Eudoxus Sans" pitchFamily="34" charset="-122"/>
            </a:rPr>
            <a:t>datastrukturer</a:t>
          </a:r>
          <a:r>
            <a:rPr lang="en-US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dirty="0" err="1">
              <a:solidFill>
                <a:srgbClr val="272525"/>
              </a:solidFill>
              <a:latin typeface="+mn-lt"/>
              <a:ea typeface="Eudoxus Sans" pitchFamily="34" charset="-122"/>
            </a:rPr>
            <a:t>tilgangsrettigheter</a:t>
          </a:r>
          <a:r>
            <a:rPr lang="en-US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dirty="0" err="1">
              <a:solidFill>
                <a:srgbClr val="272525"/>
              </a:solidFill>
              <a:latin typeface="+mn-lt"/>
              <a:ea typeface="Eudoxus Sans" pitchFamily="34" charset="-122"/>
            </a:rPr>
            <a:t>integrasjoner</a:t>
          </a:r>
          <a:r>
            <a:rPr lang="en-US" dirty="0">
              <a:solidFill>
                <a:srgbClr val="272525"/>
              </a:solidFill>
              <a:latin typeface="+mn-lt"/>
              <a:ea typeface="Eudoxus Sans" pitchFamily="34" charset="-122"/>
            </a:rPr>
            <a:t> …</a:t>
          </a:r>
          <a:endParaRPr lang="en-GB" dirty="0">
            <a:latin typeface="+mn-lt"/>
          </a:endParaRPr>
        </a:p>
      </dgm:t>
    </dgm:pt>
    <dgm:pt modelId="{C8CD1A4C-5752-414D-9912-C4862D606F93}" type="parTrans" cxnId="{FF8AD0E2-CA6E-40B5-852E-B735B7468490}">
      <dgm:prSet/>
      <dgm:spPr/>
      <dgm:t>
        <a:bodyPr/>
        <a:lstStyle/>
        <a:p>
          <a:endParaRPr lang="en-GB"/>
        </a:p>
      </dgm:t>
    </dgm:pt>
    <dgm:pt modelId="{A7A57152-59DB-44AC-95F3-D44967205FBA}" type="sibTrans" cxnId="{FF8AD0E2-CA6E-40B5-852E-B735B7468490}">
      <dgm:prSet/>
      <dgm:spPr/>
      <dgm:t>
        <a:bodyPr/>
        <a:lstStyle/>
        <a:p>
          <a:endParaRPr lang="en-GB"/>
        </a:p>
      </dgm:t>
    </dgm:pt>
    <dgm:pt modelId="{54315DF9-02F4-4FCF-9544-24B9576EFF96}">
      <dgm:prSet phldrT="[Text]" custT="1"/>
      <dgm:spPr>
        <a:noFill/>
        <a:ln>
          <a:noFill/>
        </a:ln>
        <a:effectLst/>
      </dgm:spPr>
      <dgm:t>
        <a:bodyPr spcFirstLastPara="0" vert="horz" wrap="square" lIns="76200" tIns="76200" rIns="76200" bIns="76200" numCol="1" spcCol="1270" anchor="t" anchorCtr="0"/>
        <a:lstStyle/>
        <a:p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nde-</a:t>
          </a: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til</a:t>
          </a: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-</a:t>
          </a: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nde-automatisering</a:t>
          </a:r>
          <a:endParaRPr kumimoji="0" lang="en-GB" sz="2000" b="1" i="0" u="none" strike="noStrike" kern="1200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Calibri" panose="020F0502020204030204"/>
            <a:ea typeface="p22-mackinac-pro" pitchFamily="34" charset="-122"/>
            <a:cs typeface="p22-mackinac-pro" pitchFamily="34" charset="-120"/>
          </a:endParaRPr>
        </a:p>
      </dgm:t>
    </dgm:pt>
    <dgm:pt modelId="{2A1BA7A0-D318-4118-A939-6C9A4C348AC8}" type="parTrans" cxnId="{B2983B95-8EFF-424E-8B55-F6A213F9E747}">
      <dgm:prSet/>
      <dgm:spPr/>
      <dgm:t>
        <a:bodyPr/>
        <a:lstStyle/>
        <a:p>
          <a:endParaRPr lang="en-GB"/>
        </a:p>
      </dgm:t>
    </dgm:pt>
    <dgm:pt modelId="{CC7085F7-E9F3-4B1B-8303-832FE342D3C9}" type="sibTrans" cxnId="{B2983B95-8EFF-424E-8B55-F6A213F9E747}">
      <dgm:prSet/>
      <dgm:spPr/>
      <dgm:t>
        <a:bodyPr/>
        <a:lstStyle/>
        <a:p>
          <a:endParaRPr lang="en-GB"/>
        </a:p>
      </dgm:t>
    </dgm:pt>
    <dgm:pt modelId="{6418CCE0-65CB-4C07-8FB6-9C89AFC80B28}">
      <dgm:prSet phldrT="[Text]"/>
      <dgm:spPr/>
      <dgm:t>
        <a:bodyPr/>
        <a:lstStyle/>
        <a:p>
          <a:pPr>
            <a:buClrTx/>
            <a:buSzTx/>
            <a:buFontTx/>
            <a:buNone/>
          </a:pP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"</a:t>
          </a: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out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of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the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box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" løsninger uten kompliserte implementerings- prosjekter</a:t>
          </a:r>
          <a:endParaRPr lang="en-GB" dirty="0">
            <a:latin typeface="+mn-lt"/>
          </a:endParaRPr>
        </a:p>
      </dgm:t>
    </dgm:pt>
    <dgm:pt modelId="{91920D38-AAC7-41C9-9F11-759160AE4DC7}" type="parTrans" cxnId="{29AA671D-D110-4E08-BC49-BE227E997DC2}">
      <dgm:prSet/>
      <dgm:spPr/>
      <dgm:t>
        <a:bodyPr/>
        <a:lstStyle/>
        <a:p>
          <a:endParaRPr lang="en-GB"/>
        </a:p>
      </dgm:t>
    </dgm:pt>
    <dgm:pt modelId="{B4ADED06-B33D-41B6-B7AB-3A541EF17BCA}" type="sibTrans" cxnId="{29AA671D-D110-4E08-BC49-BE227E997DC2}">
      <dgm:prSet/>
      <dgm:spPr/>
      <dgm:t>
        <a:bodyPr/>
        <a:lstStyle/>
        <a:p>
          <a:endParaRPr lang="en-GB"/>
        </a:p>
      </dgm:t>
    </dgm:pt>
    <dgm:pt modelId="{45FB32F1-C127-4A45-8E8D-A2DE920E446E}">
      <dgm:prSet phldrT="[Text]" custT="1"/>
      <dgm:spPr/>
      <dgm:t>
        <a:bodyPr/>
        <a:lstStyle/>
        <a:p>
          <a:pPr>
            <a:lnSpc>
              <a:spcPct val="100000"/>
            </a:lnSpc>
            <a:buClrTx/>
            <a:buSzTx/>
            <a:buFontTx/>
            <a:buNone/>
          </a:pPr>
          <a:r>
            <a:rPr lang="en-GB" sz="1200" dirty="0" err="1">
              <a:latin typeface="+mn-lt"/>
            </a:rPr>
            <a:t>Begrenset</a:t>
          </a:r>
          <a:r>
            <a:rPr lang="en-GB" sz="1200" dirty="0">
              <a:latin typeface="+mn-lt"/>
            </a:rPr>
            <a:t> </a:t>
          </a:r>
          <a:r>
            <a:rPr lang="en-GB" sz="1200" dirty="0" err="1">
              <a:latin typeface="+mn-lt"/>
            </a:rPr>
            <a:t>kontroll</a:t>
          </a:r>
          <a:r>
            <a:rPr lang="en-GB" sz="1200" dirty="0">
              <a:latin typeface="+mn-lt"/>
            </a:rPr>
            <a:t> </a:t>
          </a:r>
          <a:r>
            <a:rPr lang="en-GB" sz="1200" dirty="0" err="1">
              <a:latin typeface="+mn-lt"/>
            </a:rPr>
            <a:t>på</a:t>
          </a:r>
          <a:r>
            <a:rPr lang="en-GB" sz="1200" dirty="0">
              <a:latin typeface="+mn-lt"/>
            </a:rPr>
            <a:t> LLM modeller</a:t>
          </a:r>
        </a:p>
      </dgm:t>
    </dgm:pt>
    <dgm:pt modelId="{BA7600AD-93DB-4392-937B-49C784101ECE}" type="parTrans" cxnId="{C4293B22-A02C-4100-B341-55299CBAC129}">
      <dgm:prSet/>
      <dgm:spPr/>
      <dgm:t>
        <a:bodyPr/>
        <a:lstStyle/>
        <a:p>
          <a:endParaRPr lang="en-GB"/>
        </a:p>
      </dgm:t>
    </dgm:pt>
    <dgm:pt modelId="{56584159-1F4B-4505-83A7-2DB481A317D9}" type="sibTrans" cxnId="{C4293B22-A02C-4100-B341-55299CBAC129}">
      <dgm:prSet/>
      <dgm:spPr/>
      <dgm:t>
        <a:bodyPr/>
        <a:lstStyle/>
        <a:p>
          <a:endParaRPr lang="en-GB"/>
        </a:p>
      </dgm:t>
    </dgm:pt>
    <dgm:pt modelId="{42A8D2FB-7134-47B2-9617-DD6FCAEDEDBE}">
      <dgm:prSet phldrT="[Text]"/>
      <dgm:spPr/>
      <dgm:t>
        <a:bodyPr/>
        <a:lstStyle/>
        <a:p>
          <a:pPr>
            <a:buClrTx/>
            <a:buSzTx/>
            <a:buFontTx/>
            <a:buNone/>
          </a:pPr>
          <a:r>
            <a:rPr lang="en-GB" dirty="0">
              <a:latin typeface="+mn-lt"/>
            </a:rPr>
            <a:t>4.</a:t>
          </a:r>
        </a:p>
      </dgm:t>
    </dgm:pt>
    <dgm:pt modelId="{C496D48C-0166-457E-8BC7-6E72DA107791}" type="parTrans" cxnId="{17DEB1C4-81BA-4788-A97B-5F3863788407}">
      <dgm:prSet/>
      <dgm:spPr/>
      <dgm:t>
        <a:bodyPr/>
        <a:lstStyle/>
        <a:p>
          <a:endParaRPr lang="en-GB"/>
        </a:p>
      </dgm:t>
    </dgm:pt>
    <dgm:pt modelId="{16E66D29-731B-4511-98C1-609F76F1395A}" type="sibTrans" cxnId="{17DEB1C4-81BA-4788-A97B-5F3863788407}">
      <dgm:prSet/>
      <dgm:spPr/>
      <dgm:t>
        <a:bodyPr/>
        <a:lstStyle/>
        <a:p>
          <a:endParaRPr lang="en-GB"/>
        </a:p>
      </dgm:t>
    </dgm:pt>
    <dgm:pt modelId="{3A0EB6F6-AE92-42DD-8E49-61F17792D04B}">
      <dgm:prSet phldrT="[Text]" custT="1"/>
      <dgm:spPr>
        <a:noFill/>
        <a:ln>
          <a:noFill/>
        </a:ln>
        <a:effectLst/>
      </dgm:spPr>
      <dgm:t>
        <a:bodyPr spcFirstLastPara="0" vert="horz" wrap="square" lIns="76200" tIns="76200" rIns="76200" bIns="76200" numCol="1" spcCol="1270" anchor="t" anchorCtr="0"/>
        <a:lstStyle/>
        <a:p>
          <a:pPr>
            <a:buClrTx/>
            <a:buSzTx/>
            <a:buFontTx/>
            <a:buNone/>
          </a:pP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ffektiv</a:t>
          </a: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 </a:t>
          </a:r>
          <a:b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</a:b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AI-Governance</a:t>
          </a:r>
          <a:endParaRPr lang="en-GB" sz="2000" kern="1200" dirty="0">
            <a:latin typeface="+mn-lt"/>
          </a:endParaRPr>
        </a:p>
      </dgm:t>
    </dgm:pt>
    <dgm:pt modelId="{5571AF25-6156-461D-A80B-13007890F28A}" type="parTrans" cxnId="{2EF5DAA2-F4DA-4264-BEC4-13A1041893A2}">
      <dgm:prSet/>
      <dgm:spPr/>
      <dgm:t>
        <a:bodyPr/>
        <a:lstStyle/>
        <a:p>
          <a:endParaRPr lang="en-GB"/>
        </a:p>
      </dgm:t>
    </dgm:pt>
    <dgm:pt modelId="{6E9A69A0-B57A-497A-AB7A-07492C4799E4}" type="sibTrans" cxnId="{2EF5DAA2-F4DA-4264-BEC4-13A1041893A2}">
      <dgm:prSet/>
      <dgm:spPr/>
      <dgm:t>
        <a:bodyPr/>
        <a:lstStyle/>
        <a:p>
          <a:endParaRPr lang="en-GB"/>
        </a:p>
      </dgm:t>
    </dgm:pt>
    <dgm:pt modelId="{797FB601-B782-44B1-A92D-996E13FE5CA4}">
      <dgm:prSet phldrT="[Text]"/>
      <dgm:spPr/>
      <dgm:t>
        <a:bodyPr/>
        <a:lstStyle/>
        <a:p>
          <a:pPr>
            <a:buClrTx/>
            <a:buSzTx/>
            <a:buFontTx/>
            <a:buNone/>
          </a:pP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Governance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prosess som holder tritt med fart og omfang av konsept innovasjon</a:t>
          </a:r>
          <a:endParaRPr kumimoji="0" lang="en-GB" b="0" i="0" u="none" strike="noStrike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+mn-lt"/>
            <a:ea typeface="Eudoxus Sans" pitchFamily="34" charset="-122"/>
            <a:cs typeface="Eudoxus Sans" pitchFamily="34" charset="-120"/>
          </a:endParaRPr>
        </a:p>
      </dgm:t>
    </dgm:pt>
    <dgm:pt modelId="{DDDB8D55-25C4-4A0D-8EE9-F0F2542B5935}" type="parTrans" cxnId="{B67C8549-594E-4128-8DBD-350AB8C24D1C}">
      <dgm:prSet/>
      <dgm:spPr/>
      <dgm:t>
        <a:bodyPr/>
        <a:lstStyle/>
        <a:p>
          <a:endParaRPr lang="en-GB"/>
        </a:p>
      </dgm:t>
    </dgm:pt>
    <dgm:pt modelId="{029B3BE8-D1F6-4527-BDC0-7D941DA1F9E6}" type="sibTrans" cxnId="{B67C8549-594E-4128-8DBD-350AB8C24D1C}">
      <dgm:prSet/>
      <dgm:spPr/>
      <dgm:t>
        <a:bodyPr/>
        <a:lstStyle/>
        <a:p>
          <a:endParaRPr lang="en-GB"/>
        </a:p>
      </dgm:t>
    </dgm:pt>
    <dgm:pt modelId="{F30BFB1F-71CD-451D-A167-6C09F4E98357}" type="pres">
      <dgm:prSet presAssocID="{84310D60-E56E-4CC7-8CB4-8175E1BCD8B7}" presName="vert0" presStyleCnt="0">
        <dgm:presLayoutVars>
          <dgm:dir/>
          <dgm:animOne val="branch"/>
          <dgm:animLvl val="lvl"/>
        </dgm:presLayoutVars>
      </dgm:prSet>
      <dgm:spPr/>
    </dgm:pt>
    <dgm:pt modelId="{8758DBA2-343B-4FAF-B2D0-839CCAD8BC56}" type="pres">
      <dgm:prSet presAssocID="{31E4E801-8CB3-4500-B938-B22CCD3556F9}" presName="thickLine" presStyleLbl="alignNode1" presStyleIdx="0" presStyleCnt="4"/>
      <dgm:spPr/>
    </dgm:pt>
    <dgm:pt modelId="{8F0D5ABA-487F-4BE2-80D7-C7537CF36CE5}" type="pres">
      <dgm:prSet presAssocID="{31E4E801-8CB3-4500-B938-B22CCD3556F9}" presName="horz1" presStyleCnt="0"/>
      <dgm:spPr/>
    </dgm:pt>
    <dgm:pt modelId="{CDDBED3E-D6B3-45EA-901F-E062F2534651}" type="pres">
      <dgm:prSet presAssocID="{31E4E801-8CB3-4500-B938-B22CCD3556F9}" presName="tx1" presStyleLbl="revTx" presStyleIdx="0" presStyleCnt="13"/>
      <dgm:spPr/>
    </dgm:pt>
    <dgm:pt modelId="{AB84DCEF-F532-475D-BF20-D9EAD0CDE35F}" type="pres">
      <dgm:prSet presAssocID="{31E4E801-8CB3-4500-B938-B22CCD3556F9}" presName="vert1" presStyleCnt="0"/>
      <dgm:spPr/>
    </dgm:pt>
    <dgm:pt modelId="{40BE354B-05DB-4845-8278-5EECF4C4A7A7}" type="pres">
      <dgm:prSet presAssocID="{70149C24-14E0-41E5-A23D-80F7DDAC6986}" presName="vertSpace2a" presStyleCnt="0"/>
      <dgm:spPr/>
    </dgm:pt>
    <dgm:pt modelId="{28532809-9687-4CC7-A6F1-7EB3E265888A}" type="pres">
      <dgm:prSet presAssocID="{70149C24-14E0-41E5-A23D-80F7DDAC6986}" presName="horz2" presStyleCnt="0"/>
      <dgm:spPr/>
    </dgm:pt>
    <dgm:pt modelId="{9DDA9327-1C36-40F0-B9F8-5C0691CAC8E6}" type="pres">
      <dgm:prSet presAssocID="{70149C24-14E0-41E5-A23D-80F7DDAC6986}" presName="horzSpace2" presStyleCnt="0"/>
      <dgm:spPr/>
    </dgm:pt>
    <dgm:pt modelId="{84C58614-7037-4AC5-B328-187E7C300F94}" type="pres">
      <dgm:prSet presAssocID="{70149C24-14E0-41E5-A23D-80F7DDAC6986}" presName="tx2" presStyleLbl="revTx" presStyleIdx="1" presStyleCnt="13"/>
      <dgm:spPr/>
    </dgm:pt>
    <dgm:pt modelId="{3519C762-22B9-452E-9D63-B08AEE711931}" type="pres">
      <dgm:prSet presAssocID="{70149C24-14E0-41E5-A23D-80F7DDAC6986}" presName="vert2" presStyleCnt="0"/>
      <dgm:spPr/>
    </dgm:pt>
    <dgm:pt modelId="{EFCDBE41-9A7E-4C3A-9411-113C467EBDF6}" type="pres">
      <dgm:prSet presAssocID="{0299C2E1-10F2-43D4-AA5B-3D85823A98BD}" presName="horz3" presStyleCnt="0"/>
      <dgm:spPr/>
    </dgm:pt>
    <dgm:pt modelId="{F692DB52-83FA-4D34-A29D-E85A38465034}" type="pres">
      <dgm:prSet presAssocID="{0299C2E1-10F2-43D4-AA5B-3D85823A98BD}" presName="horzSpace3" presStyleCnt="0"/>
      <dgm:spPr/>
    </dgm:pt>
    <dgm:pt modelId="{718169AB-0FD1-4908-A801-75DAA5C50842}" type="pres">
      <dgm:prSet presAssocID="{0299C2E1-10F2-43D4-AA5B-3D85823A98BD}" presName="tx3" presStyleLbl="revTx" presStyleIdx="2" presStyleCnt="13"/>
      <dgm:spPr/>
    </dgm:pt>
    <dgm:pt modelId="{90D38AD2-7420-4B18-B445-6EE2BAA932F7}" type="pres">
      <dgm:prSet presAssocID="{0299C2E1-10F2-43D4-AA5B-3D85823A98BD}" presName="vert3" presStyleCnt="0"/>
      <dgm:spPr/>
    </dgm:pt>
    <dgm:pt modelId="{07AA2E4B-2FC5-4F2F-B6BB-647F130CE34C}" type="pres">
      <dgm:prSet presAssocID="{70149C24-14E0-41E5-A23D-80F7DDAC6986}" presName="thinLine2b" presStyleLbl="callout" presStyleIdx="0" presStyleCnt="5"/>
      <dgm:spPr/>
    </dgm:pt>
    <dgm:pt modelId="{05AAC90C-08A3-4966-A704-5C5CFDC3A7F9}" type="pres">
      <dgm:prSet presAssocID="{70149C24-14E0-41E5-A23D-80F7DDAC6986}" presName="vertSpace2b" presStyleCnt="0"/>
      <dgm:spPr/>
    </dgm:pt>
    <dgm:pt modelId="{2C1DF126-C412-4199-9639-D1560F90BD19}" type="pres">
      <dgm:prSet presAssocID="{2B0B5CE9-2CEA-47CD-B469-52BC2AB2EB53}" presName="thickLine" presStyleLbl="alignNode1" presStyleIdx="1" presStyleCnt="4"/>
      <dgm:spPr/>
    </dgm:pt>
    <dgm:pt modelId="{FCA80EE3-E758-4B88-9F1E-D78C8EC2EDDF}" type="pres">
      <dgm:prSet presAssocID="{2B0B5CE9-2CEA-47CD-B469-52BC2AB2EB53}" presName="horz1" presStyleCnt="0"/>
      <dgm:spPr/>
    </dgm:pt>
    <dgm:pt modelId="{43C21E66-6FF5-4198-9ADD-4AB69424E49F}" type="pres">
      <dgm:prSet presAssocID="{2B0B5CE9-2CEA-47CD-B469-52BC2AB2EB53}" presName="tx1" presStyleLbl="revTx" presStyleIdx="3" presStyleCnt="13"/>
      <dgm:spPr/>
    </dgm:pt>
    <dgm:pt modelId="{B33A23C0-0B1C-4FA4-AA38-EAE38F72359A}" type="pres">
      <dgm:prSet presAssocID="{2B0B5CE9-2CEA-47CD-B469-52BC2AB2EB53}" presName="vert1" presStyleCnt="0"/>
      <dgm:spPr/>
    </dgm:pt>
    <dgm:pt modelId="{B242F500-48F3-4209-A9A8-8AECAF2FBDA7}" type="pres">
      <dgm:prSet presAssocID="{AFB4F636-FAE5-47E0-8649-1F1B02EC2990}" presName="vertSpace2a" presStyleCnt="0"/>
      <dgm:spPr/>
    </dgm:pt>
    <dgm:pt modelId="{CD04513C-4A78-4BD7-9B35-C05A37B91468}" type="pres">
      <dgm:prSet presAssocID="{AFB4F636-FAE5-47E0-8649-1F1B02EC2990}" presName="horz2" presStyleCnt="0"/>
      <dgm:spPr/>
    </dgm:pt>
    <dgm:pt modelId="{7F93D033-9764-4484-8131-0F367E2E681B}" type="pres">
      <dgm:prSet presAssocID="{AFB4F636-FAE5-47E0-8649-1F1B02EC2990}" presName="horzSpace2" presStyleCnt="0"/>
      <dgm:spPr/>
    </dgm:pt>
    <dgm:pt modelId="{E51757D3-76CF-4A64-A04D-A1C08C7A6F2A}" type="pres">
      <dgm:prSet presAssocID="{AFB4F636-FAE5-47E0-8649-1F1B02EC2990}" presName="tx2" presStyleLbl="revTx" presStyleIdx="4" presStyleCnt="13"/>
      <dgm:spPr/>
    </dgm:pt>
    <dgm:pt modelId="{58A57834-A45F-4C2E-BA93-714501039B4F}" type="pres">
      <dgm:prSet presAssocID="{AFB4F636-FAE5-47E0-8649-1F1B02EC2990}" presName="vert2" presStyleCnt="0"/>
      <dgm:spPr/>
    </dgm:pt>
    <dgm:pt modelId="{07AEF852-CB80-4512-9597-BEFEEAA94BE4}" type="pres">
      <dgm:prSet presAssocID="{9CB84A9D-1AB5-4310-A832-F56B5C578002}" presName="horz3" presStyleCnt="0"/>
      <dgm:spPr/>
    </dgm:pt>
    <dgm:pt modelId="{9F5BB500-3282-4DA2-9DEF-3C91828DAC17}" type="pres">
      <dgm:prSet presAssocID="{9CB84A9D-1AB5-4310-A832-F56B5C578002}" presName="horzSpace3" presStyleCnt="0"/>
      <dgm:spPr/>
    </dgm:pt>
    <dgm:pt modelId="{804086FF-BD4C-4D02-8E28-77121C82CF2C}" type="pres">
      <dgm:prSet presAssocID="{9CB84A9D-1AB5-4310-A832-F56B5C578002}" presName="tx3" presStyleLbl="revTx" presStyleIdx="5" presStyleCnt="13"/>
      <dgm:spPr/>
    </dgm:pt>
    <dgm:pt modelId="{35B9FDE8-2699-4135-97A6-B0BEF0BB476B}" type="pres">
      <dgm:prSet presAssocID="{9CB84A9D-1AB5-4310-A832-F56B5C578002}" presName="vert3" presStyleCnt="0"/>
      <dgm:spPr/>
    </dgm:pt>
    <dgm:pt modelId="{59A70CAF-EF7B-4101-AD20-FA66B28EF028}" type="pres">
      <dgm:prSet presAssocID="{CD63C3EB-9DDE-43E5-94A6-DBF6FA848196}" presName="thinLine3" presStyleLbl="callout" presStyleIdx="1" presStyleCnt="5"/>
      <dgm:spPr/>
    </dgm:pt>
    <dgm:pt modelId="{300A68D8-5267-4360-B8BA-C77EEA39AF3F}" type="pres">
      <dgm:prSet presAssocID="{45FB32F1-C127-4A45-8E8D-A2DE920E446E}" presName="horz3" presStyleCnt="0"/>
      <dgm:spPr/>
    </dgm:pt>
    <dgm:pt modelId="{D7DEF4B7-4431-49A7-BF58-5D7AE8465AE6}" type="pres">
      <dgm:prSet presAssocID="{45FB32F1-C127-4A45-8E8D-A2DE920E446E}" presName="horzSpace3" presStyleCnt="0"/>
      <dgm:spPr/>
    </dgm:pt>
    <dgm:pt modelId="{8639A28C-AD7A-46A6-89CC-FD629542D662}" type="pres">
      <dgm:prSet presAssocID="{45FB32F1-C127-4A45-8E8D-A2DE920E446E}" presName="tx3" presStyleLbl="revTx" presStyleIdx="6" presStyleCnt="13"/>
      <dgm:spPr/>
    </dgm:pt>
    <dgm:pt modelId="{28761063-BB1E-48A8-9839-DAB35BA629C5}" type="pres">
      <dgm:prSet presAssocID="{45FB32F1-C127-4A45-8E8D-A2DE920E446E}" presName="vert3" presStyleCnt="0"/>
      <dgm:spPr/>
    </dgm:pt>
    <dgm:pt modelId="{1E6A02EF-3187-423A-BEB2-AF7CD908F185}" type="pres">
      <dgm:prSet presAssocID="{AFB4F636-FAE5-47E0-8649-1F1B02EC2990}" presName="thinLine2b" presStyleLbl="callout" presStyleIdx="2" presStyleCnt="5"/>
      <dgm:spPr/>
    </dgm:pt>
    <dgm:pt modelId="{8B83C0E6-DD3B-465A-BCB7-92E484F4C3D0}" type="pres">
      <dgm:prSet presAssocID="{AFB4F636-FAE5-47E0-8649-1F1B02EC2990}" presName="vertSpace2b" presStyleCnt="0"/>
      <dgm:spPr/>
    </dgm:pt>
    <dgm:pt modelId="{0C8B9503-63C0-4520-BC14-DDEC3B4D072B}" type="pres">
      <dgm:prSet presAssocID="{C954C706-EF65-4D31-95CF-CD5B031D1E08}" presName="thickLine" presStyleLbl="alignNode1" presStyleIdx="2" presStyleCnt="4"/>
      <dgm:spPr/>
    </dgm:pt>
    <dgm:pt modelId="{67B9CEBE-C840-4698-BE80-A50A6138235D}" type="pres">
      <dgm:prSet presAssocID="{C954C706-EF65-4D31-95CF-CD5B031D1E08}" presName="horz1" presStyleCnt="0"/>
      <dgm:spPr/>
    </dgm:pt>
    <dgm:pt modelId="{8F71F20C-BE1E-4F90-8BA3-1D0212A56127}" type="pres">
      <dgm:prSet presAssocID="{C954C706-EF65-4D31-95CF-CD5B031D1E08}" presName="tx1" presStyleLbl="revTx" presStyleIdx="7" presStyleCnt="13"/>
      <dgm:spPr/>
    </dgm:pt>
    <dgm:pt modelId="{170F9447-52A6-49A8-8C7E-791DDB250B29}" type="pres">
      <dgm:prSet presAssocID="{C954C706-EF65-4D31-95CF-CD5B031D1E08}" presName="vert1" presStyleCnt="0"/>
      <dgm:spPr/>
    </dgm:pt>
    <dgm:pt modelId="{77CB27D8-D8EB-4B48-B6C3-4330F1ACE4B9}" type="pres">
      <dgm:prSet presAssocID="{54315DF9-02F4-4FCF-9544-24B9576EFF96}" presName="vertSpace2a" presStyleCnt="0"/>
      <dgm:spPr/>
    </dgm:pt>
    <dgm:pt modelId="{3290A2B1-375A-45F7-ADB0-9215DF2BDC25}" type="pres">
      <dgm:prSet presAssocID="{54315DF9-02F4-4FCF-9544-24B9576EFF96}" presName="horz2" presStyleCnt="0"/>
      <dgm:spPr/>
    </dgm:pt>
    <dgm:pt modelId="{6244D28D-806D-4DBF-9E95-234779416465}" type="pres">
      <dgm:prSet presAssocID="{54315DF9-02F4-4FCF-9544-24B9576EFF96}" presName="horzSpace2" presStyleCnt="0"/>
      <dgm:spPr/>
    </dgm:pt>
    <dgm:pt modelId="{DEA036F4-4D9B-48B9-89B7-B2658DE4CE4D}" type="pres">
      <dgm:prSet presAssocID="{54315DF9-02F4-4FCF-9544-24B9576EFF96}" presName="tx2" presStyleLbl="revTx" presStyleIdx="8" presStyleCnt="13"/>
      <dgm:spPr>
        <a:xfrm>
          <a:off x="1323139" y="1952149"/>
          <a:ext cx="2369343" cy="866793"/>
        </a:xfrm>
        <a:prstGeom prst="rect">
          <a:avLst/>
        </a:prstGeom>
      </dgm:spPr>
    </dgm:pt>
    <dgm:pt modelId="{614438A7-5A3B-408C-B796-F1A0D39F3776}" type="pres">
      <dgm:prSet presAssocID="{54315DF9-02F4-4FCF-9544-24B9576EFF96}" presName="vert2" presStyleCnt="0"/>
      <dgm:spPr/>
    </dgm:pt>
    <dgm:pt modelId="{52999005-AC72-476B-B122-25995837F9CA}" type="pres">
      <dgm:prSet presAssocID="{6418CCE0-65CB-4C07-8FB6-9C89AFC80B28}" presName="horz3" presStyleCnt="0"/>
      <dgm:spPr/>
    </dgm:pt>
    <dgm:pt modelId="{227CEB18-DE89-4D65-BBE7-624946906277}" type="pres">
      <dgm:prSet presAssocID="{6418CCE0-65CB-4C07-8FB6-9C89AFC80B28}" presName="horzSpace3" presStyleCnt="0"/>
      <dgm:spPr/>
    </dgm:pt>
    <dgm:pt modelId="{93E06218-B209-4928-855A-F13352CA9344}" type="pres">
      <dgm:prSet presAssocID="{6418CCE0-65CB-4C07-8FB6-9C89AFC80B28}" presName="tx3" presStyleLbl="revTx" presStyleIdx="9" presStyleCnt="13"/>
      <dgm:spPr/>
    </dgm:pt>
    <dgm:pt modelId="{B9D62C5F-CD2C-4278-A844-40372A1AF29A}" type="pres">
      <dgm:prSet presAssocID="{6418CCE0-65CB-4C07-8FB6-9C89AFC80B28}" presName="vert3" presStyleCnt="0"/>
      <dgm:spPr/>
    </dgm:pt>
    <dgm:pt modelId="{BA360986-FE0F-4517-9E13-58CEBD9D77C1}" type="pres">
      <dgm:prSet presAssocID="{54315DF9-02F4-4FCF-9544-24B9576EFF96}" presName="thinLine2b" presStyleLbl="callout" presStyleIdx="3" presStyleCnt="5"/>
      <dgm:spPr/>
    </dgm:pt>
    <dgm:pt modelId="{6D15EB8E-26E2-4BF3-B1D8-3A8AEA9DE4C2}" type="pres">
      <dgm:prSet presAssocID="{54315DF9-02F4-4FCF-9544-24B9576EFF96}" presName="vertSpace2b" presStyleCnt="0"/>
      <dgm:spPr/>
    </dgm:pt>
    <dgm:pt modelId="{7D20B13A-EF89-4C0B-A462-AB01F7D03BFF}" type="pres">
      <dgm:prSet presAssocID="{42A8D2FB-7134-47B2-9617-DD6FCAEDEDBE}" presName="thickLine" presStyleLbl="alignNode1" presStyleIdx="3" presStyleCnt="4"/>
      <dgm:spPr/>
    </dgm:pt>
    <dgm:pt modelId="{7B8939D5-64F8-4D0C-A995-C0C9BAB24065}" type="pres">
      <dgm:prSet presAssocID="{42A8D2FB-7134-47B2-9617-DD6FCAEDEDBE}" presName="horz1" presStyleCnt="0"/>
      <dgm:spPr/>
    </dgm:pt>
    <dgm:pt modelId="{C36752E2-C357-4B45-A29C-F8EC1FD199E0}" type="pres">
      <dgm:prSet presAssocID="{42A8D2FB-7134-47B2-9617-DD6FCAEDEDBE}" presName="tx1" presStyleLbl="revTx" presStyleIdx="10" presStyleCnt="13"/>
      <dgm:spPr/>
    </dgm:pt>
    <dgm:pt modelId="{C00C1696-DCF0-4074-AB74-0C4E48EDADE1}" type="pres">
      <dgm:prSet presAssocID="{42A8D2FB-7134-47B2-9617-DD6FCAEDEDBE}" presName="vert1" presStyleCnt="0"/>
      <dgm:spPr/>
    </dgm:pt>
    <dgm:pt modelId="{D040586D-9D2C-43D2-AB44-2A3E6FF166C5}" type="pres">
      <dgm:prSet presAssocID="{3A0EB6F6-AE92-42DD-8E49-61F17792D04B}" presName="vertSpace2a" presStyleCnt="0"/>
      <dgm:spPr/>
    </dgm:pt>
    <dgm:pt modelId="{81A6655D-33EB-499B-A38A-3352E980CB49}" type="pres">
      <dgm:prSet presAssocID="{3A0EB6F6-AE92-42DD-8E49-61F17792D04B}" presName="horz2" presStyleCnt="0"/>
      <dgm:spPr/>
    </dgm:pt>
    <dgm:pt modelId="{F08827B7-34A5-4496-94C2-37E3B41F3C89}" type="pres">
      <dgm:prSet presAssocID="{3A0EB6F6-AE92-42DD-8E49-61F17792D04B}" presName="horzSpace2" presStyleCnt="0"/>
      <dgm:spPr/>
    </dgm:pt>
    <dgm:pt modelId="{31AA0E48-E629-4A1F-84E4-86935EF341D2}" type="pres">
      <dgm:prSet presAssocID="{3A0EB6F6-AE92-42DD-8E49-61F17792D04B}" presName="tx2" presStyleLbl="revTx" presStyleIdx="11" presStyleCnt="13"/>
      <dgm:spPr>
        <a:xfrm>
          <a:off x="1323139" y="2906553"/>
          <a:ext cx="2369343" cy="866793"/>
        </a:xfrm>
        <a:prstGeom prst="rect">
          <a:avLst/>
        </a:prstGeom>
      </dgm:spPr>
    </dgm:pt>
    <dgm:pt modelId="{E9155F74-AFAA-4FCE-B6AC-481610170A45}" type="pres">
      <dgm:prSet presAssocID="{3A0EB6F6-AE92-42DD-8E49-61F17792D04B}" presName="vert2" presStyleCnt="0"/>
      <dgm:spPr/>
    </dgm:pt>
    <dgm:pt modelId="{6B742A5F-600B-43AF-B950-4AC98EF03266}" type="pres">
      <dgm:prSet presAssocID="{797FB601-B782-44B1-A92D-996E13FE5CA4}" presName="horz3" presStyleCnt="0"/>
      <dgm:spPr/>
    </dgm:pt>
    <dgm:pt modelId="{CA6814BE-8508-4020-B13D-277AB1A13C67}" type="pres">
      <dgm:prSet presAssocID="{797FB601-B782-44B1-A92D-996E13FE5CA4}" presName="horzSpace3" presStyleCnt="0"/>
      <dgm:spPr/>
    </dgm:pt>
    <dgm:pt modelId="{6603E52E-95DF-4439-8402-9F613481FFD1}" type="pres">
      <dgm:prSet presAssocID="{797FB601-B782-44B1-A92D-996E13FE5CA4}" presName="tx3" presStyleLbl="revTx" presStyleIdx="12" presStyleCnt="13"/>
      <dgm:spPr/>
    </dgm:pt>
    <dgm:pt modelId="{9551CBD5-58A5-4056-90A2-071DBCD81D37}" type="pres">
      <dgm:prSet presAssocID="{797FB601-B782-44B1-A92D-996E13FE5CA4}" presName="vert3" presStyleCnt="0"/>
      <dgm:spPr/>
    </dgm:pt>
    <dgm:pt modelId="{8D42EAA7-8431-4D03-9079-635095B5A99E}" type="pres">
      <dgm:prSet presAssocID="{3A0EB6F6-AE92-42DD-8E49-61F17792D04B}" presName="thinLine2b" presStyleLbl="callout" presStyleIdx="4" presStyleCnt="5"/>
      <dgm:spPr/>
    </dgm:pt>
    <dgm:pt modelId="{61CE85FB-6E5B-49C9-87D6-A40ACAC99009}" type="pres">
      <dgm:prSet presAssocID="{3A0EB6F6-AE92-42DD-8E49-61F17792D04B}" presName="vertSpace2b" presStyleCnt="0"/>
      <dgm:spPr/>
    </dgm:pt>
  </dgm:ptLst>
  <dgm:cxnLst>
    <dgm:cxn modelId="{435B2802-058D-4C23-A1FC-097BDDBB25E8}" type="presOf" srcId="{42A8D2FB-7134-47B2-9617-DD6FCAEDEDBE}" destId="{C36752E2-C357-4B45-A29C-F8EC1FD199E0}" srcOrd="0" destOrd="0" presId="urn:microsoft.com/office/officeart/2008/layout/LinedList"/>
    <dgm:cxn modelId="{1CEF6B07-EADC-4356-A6D5-6292618DC435}" type="presOf" srcId="{3A0EB6F6-AE92-42DD-8E49-61F17792D04B}" destId="{31AA0E48-E629-4A1F-84E4-86935EF341D2}" srcOrd="0" destOrd="0" presId="urn:microsoft.com/office/officeart/2008/layout/LinedList"/>
    <dgm:cxn modelId="{29AA671D-D110-4E08-BC49-BE227E997DC2}" srcId="{54315DF9-02F4-4FCF-9544-24B9576EFF96}" destId="{6418CCE0-65CB-4C07-8FB6-9C89AFC80B28}" srcOrd="0" destOrd="0" parTransId="{91920D38-AAC7-41C9-9F11-759160AE4DC7}" sibTransId="{B4ADED06-B33D-41B6-B7AB-3A541EF17BCA}"/>
    <dgm:cxn modelId="{C4293B22-A02C-4100-B341-55299CBAC129}" srcId="{AFB4F636-FAE5-47E0-8649-1F1B02EC2990}" destId="{45FB32F1-C127-4A45-8E8D-A2DE920E446E}" srcOrd="1" destOrd="0" parTransId="{BA7600AD-93DB-4392-937B-49C784101ECE}" sibTransId="{56584159-1F4B-4505-83A7-2DB481A317D9}"/>
    <dgm:cxn modelId="{4ACCAB2A-750A-4EA7-B6D8-6ECCDA989FB3}" srcId="{2B0B5CE9-2CEA-47CD-B469-52BC2AB2EB53}" destId="{AFB4F636-FAE5-47E0-8649-1F1B02EC2990}" srcOrd="0" destOrd="0" parTransId="{D8E2E52A-1BDF-424D-B4DA-FD3E42115562}" sibTransId="{ED393B3B-EE80-449F-A0BC-BD6E62AF6E86}"/>
    <dgm:cxn modelId="{7E9EE83A-6A20-4619-B657-B9F4FA13BF9E}" type="presOf" srcId="{0299C2E1-10F2-43D4-AA5B-3D85823A98BD}" destId="{718169AB-0FD1-4908-A801-75DAA5C50842}" srcOrd="0" destOrd="0" presId="urn:microsoft.com/office/officeart/2008/layout/LinedList"/>
    <dgm:cxn modelId="{8900F03A-4C55-460D-BF48-74C7247A2AE6}" type="presOf" srcId="{6418CCE0-65CB-4C07-8FB6-9C89AFC80B28}" destId="{93E06218-B209-4928-855A-F13352CA9344}" srcOrd="0" destOrd="0" presId="urn:microsoft.com/office/officeart/2008/layout/LinedList"/>
    <dgm:cxn modelId="{4807685F-6DC9-4CC2-89C5-2E3D4C360B52}" type="presOf" srcId="{C954C706-EF65-4D31-95CF-CD5B031D1E08}" destId="{8F71F20C-BE1E-4F90-8BA3-1D0212A56127}" srcOrd="0" destOrd="0" presId="urn:microsoft.com/office/officeart/2008/layout/LinedList"/>
    <dgm:cxn modelId="{A29BD444-620B-4DD1-A161-DCEB328CE922}" type="presOf" srcId="{797FB601-B782-44B1-A92D-996E13FE5CA4}" destId="{6603E52E-95DF-4439-8402-9F613481FFD1}" srcOrd="0" destOrd="0" presId="urn:microsoft.com/office/officeart/2008/layout/LinedList"/>
    <dgm:cxn modelId="{07104E69-0D3D-4E9A-99E1-8DE3C12FEE38}" type="presOf" srcId="{54315DF9-02F4-4FCF-9544-24B9576EFF96}" destId="{DEA036F4-4D9B-48B9-89B7-B2658DE4CE4D}" srcOrd="0" destOrd="0" presId="urn:microsoft.com/office/officeart/2008/layout/LinedList"/>
    <dgm:cxn modelId="{B67C8549-594E-4128-8DBD-350AB8C24D1C}" srcId="{3A0EB6F6-AE92-42DD-8E49-61F17792D04B}" destId="{797FB601-B782-44B1-A92D-996E13FE5CA4}" srcOrd="0" destOrd="0" parTransId="{DDDB8D55-25C4-4A0D-8EE9-F0F2542B5935}" sibTransId="{029B3BE8-D1F6-4527-BDC0-7D941DA1F9E6}"/>
    <dgm:cxn modelId="{499CCF72-C74E-4939-A8F1-F4EA2C838945}" type="presOf" srcId="{9CB84A9D-1AB5-4310-A832-F56B5C578002}" destId="{804086FF-BD4C-4D02-8E28-77121C82CF2C}" srcOrd="0" destOrd="0" presId="urn:microsoft.com/office/officeart/2008/layout/LinedList"/>
    <dgm:cxn modelId="{CDE53A54-5688-43B8-AED3-7043DED01610}" srcId="{84310D60-E56E-4CC7-8CB4-8175E1BCD8B7}" destId="{C954C706-EF65-4D31-95CF-CD5B031D1E08}" srcOrd="2" destOrd="0" parTransId="{A3210A32-9BE9-446B-AFCB-AE6694A4646D}" sibTransId="{4F76BB95-C126-4D77-8E2F-704B9629D217}"/>
    <dgm:cxn modelId="{41D40A7C-5292-418B-9652-772D2CB9C9EA}" type="presOf" srcId="{2B0B5CE9-2CEA-47CD-B469-52BC2AB2EB53}" destId="{43C21E66-6FF5-4198-9ADD-4AB69424E49F}" srcOrd="0" destOrd="0" presId="urn:microsoft.com/office/officeart/2008/layout/LinedList"/>
    <dgm:cxn modelId="{B6635081-09C8-483F-8772-2A98023DA512}" srcId="{AFB4F636-FAE5-47E0-8649-1F1B02EC2990}" destId="{9CB84A9D-1AB5-4310-A832-F56B5C578002}" srcOrd="0" destOrd="0" parTransId="{13B9365F-348A-4DE5-8DD9-BB65017ADA5A}" sibTransId="{CD63C3EB-9DDE-43E5-94A6-DBF6FA848196}"/>
    <dgm:cxn modelId="{6CAC0B91-B62B-48D9-9973-AC7FB88870DF}" srcId="{84310D60-E56E-4CC7-8CB4-8175E1BCD8B7}" destId="{31E4E801-8CB3-4500-B938-B22CCD3556F9}" srcOrd="0" destOrd="0" parTransId="{0BCB138E-24D8-49BD-96DD-8AB14A833C2E}" sibTransId="{DBB13854-6975-492C-9B9E-6968C7A7E1FC}"/>
    <dgm:cxn modelId="{B2983B95-8EFF-424E-8B55-F6A213F9E747}" srcId="{C954C706-EF65-4D31-95CF-CD5B031D1E08}" destId="{54315DF9-02F4-4FCF-9544-24B9576EFF96}" srcOrd="0" destOrd="0" parTransId="{2A1BA7A0-D318-4118-A939-6C9A4C348AC8}" sibTransId="{CC7085F7-E9F3-4B1B-8303-832FE342D3C9}"/>
    <dgm:cxn modelId="{2EF5DAA2-F4DA-4264-BEC4-13A1041893A2}" srcId="{42A8D2FB-7134-47B2-9617-DD6FCAEDEDBE}" destId="{3A0EB6F6-AE92-42DD-8E49-61F17792D04B}" srcOrd="0" destOrd="0" parTransId="{5571AF25-6156-461D-A80B-13007890F28A}" sibTransId="{6E9A69A0-B57A-497A-AB7A-07492C4799E4}"/>
    <dgm:cxn modelId="{C2B155A4-0B89-4D94-BDA3-B607D3ECB099}" type="presOf" srcId="{31E4E801-8CB3-4500-B938-B22CCD3556F9}" destId="{CDDBED3E-D6B3-45EA-901F-E062F2534651}" srcOrd="0" destOrd="0" presId="urn:microsoft.com/office/officeart/2008/layout/LinedList"/>
    <dgm:cxn modelId="{560E41AB-83AD-415D-B982-8D11C6BD385C}" type="presOf" srcId="{45FB32F1-C127-4A45-8E8D-A2DE920E446E}" destId="{8639A28C-AD7A-46A6-89CC-FD629542D662}" srcOrd="0" destOrd="0" presId="urn:microsoft.com/office/officeart/2008/layout/LinedList"/>
    <dgm:cxn modelId="{BF0B0DB2-3DE3-4613-8847-FF258B458740}" type="presOf" srcId="{84310D60-E56E-4CC7-8CB4-8175E1BCD8B7}" destId="{F30BFB1F-71CD-451D-A167-6C09F4E98357}" srcOrd="0" destOrd="0" presId="urn:microsoft.com/office/officeart/2008/layout/LinedList"/>
    <dgm:cxn modelId="{17DEB1C4-81BA-4788-A97B-5F3863788407}" srcId="{84310D60-E56E-4CC7-8CB4-8175E1BCD8B7}" destId="{42A8D2FB-7134-47B2-9617-DD6FCAEDEDBE}" srcOrd="3" destOrd="0" parTransId="{C496D48C-0166-457E-8BC7-6E72DA107791}" sibTransId="{16E66D29-731B-4511-98C1-609F76F1395A}"/>
    <dgm:cxn modelId="{2911CAC4-6B29-4F47-A90D-5B8CDCD77F9B}" srcId="{31E4E801-8CB3-4500-B938-B22CCD3556F9}" destId="{70149C24-14E0-41E5-A23D-80F7DDAC6986}" srcOrd="0" destOrd="0" parTransId="{759CE61A-032A-4AF0-B200-7716DF065215}" sibTransId="{55540974-890B-44A8-8EC9-53E56AFB4D02}"/>
    <dgm:cxn modelId="{FF8AD0E2-CA6E-40B5-852E-B735B7468490}" srcId="{70149C24-14E0-41E5-A23D-80F7DDAC6986}" destId="{0299C2E1-10F2-43D4-AA5B-3D85823A98BD}" srcOrd="0" destOrd="0" parTransId="{C8CD1A4C-5752-414D-9912-C4862D606F93}" sibTransId="{A7A57152-59DB-44AC-95F3-D44967205FBA}"/>
    <dgm:cxn modelId="{81DCD0E4-5470-461C-A341-80771DB1BA30}" srcId="{84310D60-E56E-4CC7-8CB4-8175E1BCD8B7}" destId="{2B0B5CE9-2CEA-47CD-B469-52BC2AB2EB53}" srcOrd="1" destOrd="0" parTransId="{F8E8A62A-D9CA-4972-8C11-A0BCB0060C82}" sibTransId="{95C9D0DC-57CE-4AA7-9773-411461D0F7A8}"/>
    <dgm:cxn modelId="{FDF7B9E5-078D-44B7-B45B-7317F8B76684}" type="presOf" srcId="{70149C24-14E0-41E5-A23D-80F7DDAC6986}" destId="{84C58614-7037-4AC5-B328-187E7C300F94}" srcOrd="0" destOrd="0" presId="urn:microsoft.com/office/officeart/2008/layout/LinedList"/>
    <dgm:cxn modelId="{DF1835ED-B322-45E1-AED6-11711514B993}" type="presOf" srcId="{AFB4F636-FAE5-47E0-8649-1F1B02EC2990}" destId="{E51757D3-76CF-4A64-A04D-A1C08C7A6F2A}" srcOrd="0" destOrd="0" presId="urn:microsoft.com/office/officeart/2008/layout/LinedList"/>
    <dgm:cxn modelId="{2FE63CF5-4D86-4D21-B93F-E1FC29D3886A}" type="presParOf" srcId="{F30BFB1F-71CD-451D-A167-6C09F4E98357}" destId="{8758DBA2-343B-4FAF-B2D0-839CCAD8BC56}" srcOrd="0" destOrd="0" presId="urn:microsoft.com/office/officeart/2008/layout/LinedList"/>
    <dgm:cxn modelId="{730B0F61-9166-4AE1-8770-454EB51D1975}" type="presParOf" srcId="{F30BFB1F-71CD-451D-A167-6C09F4E98357}" destId="{8F0D5ABA-487F-4BE2-80D7-C7537CF36CE5}" srcOrd="1" destOrd="0" presId="urn:microsoft.com/office/officeart/2008/layout/LinedList"/>
    <dgm:cxn modelId="{0499BED8-814C-4413-A14D-ABEA201A370E}" type="presParOf" srcId="{8F0D5ABA-487F-4BE2-80D7-C7537CF36CE5}" destId="{CDDBED3E-D6B3-45EA-901F-E062F2534651}" srcOrd="0" destOrd="0" presId="urn:microsoft.com/office/officeart/2008/layout/LinedList"/>
    <dgm:cxn modelId="{500B823B-6165-4041-8B70-6A3B80C7EB53}" type="presParOf" srcId="{8F0D5ABA-487F-4BE2-80D7-C7537CF36CE5}" destId="{AB84DCEF-F532-475D-BF20-D9EAD0CDE35F}" srcOrd="1" destOrd="0" presId="urn:microsoft.com/office/officeart/2008/layout/LinedList"/>
    <dgm:cxn modelId="{56B35B38-EF15-434C-BD0D-DF5AC677E8A0}" type="presParOf" srcId="{AB84DCEF-F532-475D-BF20-D9EAD0CDE35F}" destId="{40BE354B-05DB-4845-8278-5EECF4C4A7A7}" srcOrd="0" destOrd="0" presId="urn:microsoft.com/office/officeart/2008/layout/LinedList"/>
    <dgm:cxn modelId="{E9DBA1E9-209A-4746-A5DD-5FD6A79C42A7}" type="presParOf" srcId="{AB84DCEF-F532-475D-BF20-D9EAD0CDE35F}" destId="{28532809-9687-4CC7-A6F1-7EB3E265888A}" srcOrd="1" destOrd="0" presId="urn:microsoft.com/office/officeart/2008/layout/LinedList"/>
    <dgm:cxn modelId="{4C691787-9660-4006-A29E-EC761348FAC3}" type="presParOf" srcId="{28532809-9687-4CC7-A6F1-7EB3E265888A}" destId="{9DDA9327-1C36-40F0-B9F8-5C0691CAC8E6}" srcOrd="0" destOrd="0" presId="urn:microsoft.com/office/officeart/2008/layout/LinedList"/>
    <dgm:cxn modelId="{CEF6C784-B4F3-4153-B421-D739E2628B7D}" type="presParOf" srcId="{28532809-9687-4CC7-A6F1-7EB3E265888A}" destId="{84C58614-7037-4AC5-B328-187E7C300F94}" srcOrd="1" destOrd="0" presId="urn:microsoft.com/office/officeart/2008/layout/LinedList"/>
    <dgm:cxn modelId="{41D206A6-A776-4F69-8E09-468C54A29CAD}" type="presParOf" srcId="{28532809-9687-4CC7-A6F1-7EB3E265888A}" destId="{3519C762-22B9-452E-9D63-B08AEE711931}" srcOrd="2" destOrd="0" presId="urn:microsoft.com/office/officeart/2008/layout/LinedList"/>
    <dgm:cxn modelId="{524BFE21-E415-4FCD-B188-AD9DA79E89D1}" type="presParOf" srcId="{3519C762-22B9-452E-9D63-B08AEE711931}" destId="{EFCDBE41-9A7E-4C3A-9411-113C467EBDF6}" srcOrd="0" destOrd="0" presId="urn:microsoft.com/office/officeart/2008/layout/LinedList"/>
    <dgm:cxn modelId="{13FD0189-A094-438B-A9C7-A43419418AEF}" type="presParOf" srcId="{EFCDBE41-9A7E-4C3A-9411-113C467EBDF6}" destId="{F692DB52-83FA-4D34-A29D-E85A38465034}" srcOrd="0" destOrd="0" presId="urn:microsoft.com/office/officeart/2008/layout/LinedList"/>
    <dgm:cxn modelId="{50A41675-9DD4-4173-BBBE-DAD90ED37D2D}" type="presParOf" srcId="{EFCDBE41-9A7E-4C3A-9411-113C467EBDF6}" destId="{718169AB-0FD1-4908-A801-75DAA5C50842}" srcOrd="1" destOrd="0" presId="urn:microsoft.com/office/officeart/2008/layout/LinedList"/>
    <dgm:cxn modelId="{096CA472-D662-4F0C-9EA5-99B815DFED88}" type="presParOf" srcId="{EFCDBE41-9A7E-4C3A-9411-113C467EBDF6}" destId="{90D38AD2-7420-4B18-B445-6EE2BAA932F7}" srcOrd="2" destOrd="0" presId="urn:microsoft.com/office/officeart/2008/layout/LinedList"/>
    <dgm:cxn modelId="{1FB63F40-373E-43EA-8D69-AF9C9A6E5CCE}" type="presParOf" srcId="{AB84DCEF-F532-475D-BF20-D9EAD0CDE35F}" destId="{07AA2E4B-2FC5-4F2F-B6BB-647F130CE34C}" srcOrd="2" destOrd="0" presId="urn:microsoft.com/office/officeart/2008/layout/LinedList"/>
    <dgm:cxn modelId="{22E197B6-14E9-4846-8C8D-7AE4D954B9AF}" type="presParOf" srcId="{AB84DCEF-F532-475D-BF20-D9EAD0CDE35F}" destId="{05AAC90C-08A3-4966-A704-5C5CFDC3A7F9}" srcOrd="3" destOrd="0" presId="urn:microsoft.com/office/officeart/2008/layout/LinedList"/>
    <dgm:cxn modelId="{B2A955C4-01CC-4B83-BB98-1D9C42F087FB}" type="presParOf" srcId="{F30BFB1F-71CD-451D-A167-6C09F4E98357}" destId="{2C1DF126-C412-4199-9639-D1560F90BD19}" srcOrd="2" destOrd="0" presId="urn:microsoft.com/office/officeart/2008/layout/LinedList"/>
    <dgm:cxn modelId="{12911F86-073E-4683-9B4B-5BF5C7A46540}" type="presParOf" srcId="{F30BFB1F-71CD-451D-A167-6C09F4E98357}" destId="{FCA80EE3-E758-4B88-9F1E-D78C8EC2EDDF}" srcOrd="3" destOrd="0" presId="urn:microsoft.com/office/officeart/2008/layout/LinedList"/>
    <dgm:cxn modelId="{8C904D4F-7DF4-4E05-A17E-98CA6D887CCD}" type="presParOf" srcId="{FCA80EE3-E758-4B88-9F1E-D78C8EC2EDDF}" destId="{43C21E66-6FF5-4198-9ADD-4AB69424E49F}" srcOrd="0" destOrd="0" presId="urn:microsoft.com/office/officeart/2008/layout/LinedList"/>
    <dgm:cxn modelId="{5863BF12-B226-4510-9905-03996C026AAD}" type="presParOf" srcId="{FCA80EE3-E758-4B88-9F1E-D78C8EC2EDDF}" destId="{B33A23C0-0B1C-4FA4-AA38-EAE38F72359A}" srcOrd="1" destOrd="0" presId="urn:microsoft.com/office/officeart/2008/layout/LinedList"/>
    <dgm:cxn modelId="{D1D86030-98EC-47A2-826B-D21A90AA643C}" type="presParOf" srcId="{B33A23C0-0B1C-4FA4-AA38-EAE38F72359A}" destId="{B242F500-48F3-4209-A9A8-8AECAF2FBDA7}" srcOrd="0" destOrd="0" presId="urn:microsoft.com/office/officeart/2008/layout/LinedList"/>
    <dgm:cxn modelId="{DD000432-4B00-437E-80E8-703DFD3D6B13}" type="presParOf" srcId="{B33A23C0-0B1C-4FA4-AA38-EAE38F72359A}" destId="{CD04513C-4A78-4BD7-9B35-C05A37B91468}" srcOrd="1" destOrd="0" presId="urn:microsoft.com/office/officeart/2008/layout/LinedList"/>
    <dgm:cxn modelId="{4A16CEDB-C6D6-4577-A73E-CF6D48EBF073}" type="presParOf" srcId="{CD04513C-4A78-4BD7-9B35-C05A37B91468}" destId="{7F93D033-9764-4484-8131-0F367E2E681B}" srcOrd="0" destOrd="0" presId="urn:microsoft.com/office/officeart/2008/layout/LinedList"/>
    <dgm:cxn modelId="{53B1AB46-53D9-41B4-B190-33EE9983E82E}" type="presParOf" srcId="{CD04513C-4A78-4BD7-9B35-C05A37B91468}" destId="{E51757D3-76CF-4A64-A04D-A1C08C7A6F2A}" srcOrd="1" destOrd="0" presId="urn:microsoft.com/office/officeart/2008/layout/LinedList"/>
    <dgm:cxn modelId="{68B44505-B19C-4DF5-9DBD-8CFA8C0C6858}" type="presParOf" srcId="{CD04513C-4A78-4BD7-9B35-C05A37B91468}" destId="{58A57834-A45F-4C2E-BA93-714501039B4F}" srcOrd="2" destOrd="0" presId="urn:microsoft.com/office/officeart/2008/layout/LinedList"/>
    <dgm:cxn modelId="{F1EDD376-4A33-4EF2-B66C-FCABCA506D3D}" type="presParOf" srcId="{58A57834-A45F-4C2E-BA93-714501039B4F}" destId="{07AEF852-CB80-4512-9597-BEFEEAA94BE4}" srcOrd="0" destOrd="0" presId="urn:microsoft.com/office/officeart/2008/layout/LinedList"/>
    <dgm:cxn modelId="{20F0C11F-98A7-45F5-BC67-2B5271E6FD3A}" type="presParOf" srcId="{07AEF852-CB80-4512-9597-BEFEEAA94BE4}" destId="{9F5BB500-3282-4DA2-9DEF-3C91828DAC17}" srcOrd="0" destOrd="0" presId="urn:microsoft.com/office/officeart/2008/layout/LinedList"/>
    <dgm:cxn modelId="{46408EA3-72C0-4FC1-A641-E5CC662D004C}" type="presParOf" srcId="{07AEF852-CB80-4512-9597-BEFEEAA94BE4}" destId="{804086FF-BD4C-4D02-8E28-77121C82CF2C}" srcOrd="1" destOrd="0" presId="urn:microsoft.com/office/officeart/2008/layout/LinedList"/>
    <dgm:cxn modelId="{8FB0E88C-A062-4992-8DE9-CA768A314FFB}" type="presParOf" srcId="{07AEF852-CB80-4512-9597-BEFEEAA94BE4}" destId="{35B9FDE8-2699-4135-97A6-B0BEF0BB476B}" srcOrd="2" destOrd="0" presId="urn:microsoft.com/office/officeart/2008/layout/LinedList"/>
    <dgm:cxn modelId="{57D6C4D9-DE7C-4F0A-BC61-B9335BA7B89A}" type="presParOf" srcId="{58A57834-A45F-4C2E-BA93-714501039B4F}" destId="{59A70CAF-EF7B-4101-AD20-FA66B28EF028}" srcOrd="1" destOrd="0" presId="urn:microsoft.com/office/officeart/2008/layout/LinedList"/>
    <dgm:cxn modelId="{FED0F97E-D1EB-46E3-AB7C-B2170152FFEF}" type="presParOf" srcId="{58A57834-A45F-4C2E-BA93-714501039B4F}" destId="{300A68D8-5267-4360-B8BA-C77EEA39AF3F}" srcOrd="2" destOrd="0" presId="urn:microsoft.com/office/officeart/2008/layout/LinedList"/>
    <dgm:cxn modelId="{65A17765-5282-41AF-BFD6-F5347F022F29}" type="presParOf" srcId="{300A68D8-5267-4360-B8BA-C77EEA39AF3F}" destId="{D7DEF4B7-4431-49A7-BF58-5D7AE8465AE6}" srcOrd="0" destOrd="0" presId="urn:microsoft.com/office/officeart/2008/layout/LinedList"/>
    <dgm:cxn modelId="{9885C234-A46D-472F-8E4E-485BBF121F84}" type="presParOf" srcId="{300A68D8-5267-4360-B8BA-C77EEA39AF3F}" destId="{8639A28C-AD7A-46A6-89CC-FD629542D662}" srcOrd="1" destOrd="0" presId="urn:microsoft.com/office/officeart/2008/layout/LinedList"/>
    <dgm:cxn modelId="{A099DA38-07C3-421A-BA8D-D26066C7074A}" type="presParOf" srcId="{300A68D8-5267-4360-B8BA-C77EEA39AF3F}" destId="{28761063-BB1E-48A8-9839-DAB35BA629C5}" srcOrd="2" destOrd="0" presId="urn:microsoft.com/office/officeart/2008/layout/LinedList"/>
    <dgm:cxn modelId="{91254DAD-2780-49E8-A05C-D563C97CA171}" type="presParOf" srcId="{B33A23C0-0B1C-4FA4-AA38-EAE38F72359A}" destId="{1E6A02EF-3187-423A-BEB2-AF7CD908F185}" srcOrd="2" destOrd="0" presId="urn:microsoft.com/office/officeart/2008/layout/LinedList"/>
    <dgm:cxn modelId="{13CC88FD-6D27-4D79-9622-C028E4F91E33}" type="presParOf" srcId="{B33A23C0-0B1C-4FA4-AA38-EAE38F72359A}" destId="{8B83C0E6-DD3B-465A-BCB7-92E484F4C3D0}" srcOrd="3" destOrd="0" presId="urn:microsoft.com/office/officeart/2008/layout/LinedList"/>
    <dgm:cxn modelId="{3EC2F729-405E-433C-B8CA-DF5EB3BE9C6C}" type="presParOf" srcId="{F30BFB1F-71CD-451D-A167-6C09F4E98357}" destId="{0C8B9503-63C0-4520-BC14-DDEC3B4D072B}" srcOrd="4" destOrd="0" presId="urn:microsoft.com/office/officeart/2008/layout/LinedList"/>
    <dgm:cxn modelId="{CD8EF6E0-83AE-43DF-B1D5-25FEE634FE95}" type="presParOf" srcId="{F30BFB1F-71CD-451D-A167-6C09F4E98357}" destId="{67B9CEBE-C840-4698-BE80-A50A6138235D}" srcOrd="5" destOrd="0" presId="urn:microsoft.com/office/officeart/2008/layout/LinedList"/>
    <dgm:cxn modelId="{21DDCEDE-E31D-4F66-8DC0-97DA45B09D81}" type="presParOf" srcId="{67B9CEBE-C840-4698-BE80-A50A6138235D}" destId="{8F71F20C-BE1E-4F90-8BA3-1D0212A56127}" srcOrd="0" destOrd="0" presId="urn:microsoft.com/office/officeart/2008/layout/LinedList"/>
    <dgm:cxn modelId="{A6AD09BF-9651-453B-8E5D-A2A5D21F1AC0}" type="presParOf" srcId="{67B9CEBE-C840-4698-BE80-A50A6138235D}" destId="{170F9447-52A6-49A8-8C7E-791DDB250B29}" srcOrd="1" destOrd="0" presId="urn:microsoft.com/office/officeart/2008/layout/LinedList"/>
    <dgm:cxn modelId="{542F4132-E974-479B-95BF-EE7E32C48D9D}" type="presParOf" srcId="{170F9447-52A6-49A8-8C7E-791DDB250B29}" destId="{77CB27D8-D8EB-4B48-B6C3-4330F1ACE4B9}" srcOrd="0" destOrd="0" presId="urn:microsoft.com/office/officeart/2008/layout/LinedList"/>
    <dgm:cxn modelId="{8DDD20BC-6F7B-41AC-8453-BDD8F2493877}" type="presParOf" srcId="{170F9447-52A6-49A8-8C7E-791DDB250B29}" destId="{3290A2B1-375A-45F7-ADB0-9215DF2BDC25}" srcOrd="1" destOrd="0" presId="urn:microsoft.com/office/officeart/2008/layout/LinedList"/>
    <dgm:cxn modelId="{4F0D0C3D-5873-4A7B-A2CC-43DD6BA49C4E}" type="presParOf" srcId="{3290A2B1-375A-45F7-ADB0-9215DF2BDC25}" destId="{6244D28D-806D-4DBF-9E95-234779416465}" srcOrd="0" destOrd="0" presId="urn:microsoft.com/office/officeart/2008/layout/LinedList"/>
    <dgm:cxn modelId="{45EB3F7D-D0C2-46E2-916F-CC02F9288886}" type="presParOf" srcId="{3290A2B1-375A-45F7-ADB0-9215DF2BDC25}" destId="{DEA036F4-4D9B-48B9-89B7-B2658DE4CE4D}" srcOrd="1" destOrd="0" presId="urn:microsoft.com/office/officeart/2008/layout/LinedList"/>
    <dgm:cxn modelId="{2BFBD913-5C97-4C3E-BBD4-1D5E6634CCBE}" type="presParOf" srcId="{3290A2B1-375A-45F7-ADB0-9215DF2BDC25}" destId="{614438A7-5A3B-408C-B796-F1A0D39F3776}" srcOrd="2" destOrd="0" presId="urn:microsoft.com/office/officeart/2008/layout/LinedList"/>
    <dgm:cxn modelId="{719388CD-8161-48DA-BA4A-1948C1E34465}" type="presParOf" srcId="{614438A7-5A3B-408C-B796-F1A0D39F3776}" destId="{52999005-AC72-476B-B122-25995837F9CA}" srcOrd="0" destOrd="0" presId="urn:microsoft.com/office/officeart/2008/layout/LinedList"/>
    <dgm:cxn modelId="{17C6FF4C-9EF0-4B05-95C4-A81477D81824}" type="presParOf" srcId="{52999005-AC72-476B-B122-25995837F9CA}" destId="{227CEB18-DE89-4D65-BBE7-624946906277}" srcOrd="0" destOrd="0" presId="urn:microsoft.com/office/officeart/2008/layout/LinedList"/>
    <dgm:cxn modelId="{3126C022-BD37-4217-AF67-C24E045B7CEA}" type="presParOf" srcId="{52999005-AC72-476B-B122-25995837F9CA}" destId="{93E06218-B209-4928-855A-F13352CA9344}" srcOrd="1" destOrd="0" presId="urn:microsoft.com/office/officeart/2008/layout/LinedList"/>
    <dgm:cxn modelId="{21E4AA64-1AE4-4467-B30A-517C52AA2115}" type="presParOf" srcId="{52999005-AC72-476B-B122-25995837F9CA}" destId="{B9D62C5F-CD2C-4278-A844-40372A1AF29A}" srcOrd="2" destOrd="0" presId="urn:microsoft.com/office/officeart/2008/layout/LinedList"/>
    <dgm:cxn modelId="{8C602F06-114D-4226-8629-5DDC0A295A5C}" type="presParOf" srcId="{170F9447-52A6-49A8-8C7E-791DDB250B29}" destId="{BA360986-FE0F-4517-9E13-58CEBD9D77C1}" srcOrd="2" destOrd="0" presId="urn:microsoft.com/office/officeart/2008/layout/LinedList"/>
    <dgm:cxn modelId="{EA4C8198-EE50-46B7-AFBE-F1669696645D}" type="presParOf" srcId="{170F9447-52A6-49A8-8C7E-791DDB250B29}" destId="{6D15EB8E-26E2-4BF3-B1D8-3A8AEA9DE4C2}" srcOrd="3" destOrd="0" presId="urn:microsoft.com/office/officeart/2008/layout/LinedList"/>
    <dgm:cxn modelId="{5A63CBEA-10B2-40B0-8485-284688DF7AAE}" type="presParOf" srcId="{F30BFB1F-71CD-451D-A167-6C09F4E98357}" destId="{7D20B13A-EF89-4C0B-A462-AB01F7D03BFF}" srcOrd="6" destOrd="0" presId="urn:microsoft.com/office/officeart/2008/layout/LinedList"/>
    <dgm:cxn modelId="{8BDDB943-C8FA-4337-98AE-ECF69A22CC98}" type="presParOf" srcId="{F30BFB1F-71CD-451D-A167-6C09F4E98357}" destId="{7B8939D5-64F8-4D0C-A995-C0C9BAB24065}" srcOrd="7" destOrd="0" presId="urn:microsoft.com/office/officeart/2008/layout/LinedList"/>
    <dgm:cxn modelId="{9656BBA6-528D-401F-AA19-EE3FCFD3844D}" type="presParOf" srcId="{7B8939D5-64F8-4D0C-A995-C0C9BAB24065}" destId="{C36752E2-C357-4B45-A29C-F8EC1FD199E0}" srcOrd="0" destOrd="0" presId="urn:microsoft.com/office/officeart/2008/layout/LinedList"/>
    <dgm:cxn modelId="{892A68D8-5652-4F43-B4A2-C50F1E77AFF8}" type="presParOf" srcId="{7B8939D5-64F8-4D0C-A995-C0C9BAB24065}" destId="{C00C1696-DCF0-4074-AB74-0C4E48EDADE1}" srcOrd="1" destOrd="0" presId="urn:microsoft.com/office/officeart/2008/layout/LinedList"/>
    <dgm:cxn modelId="{18A8076A-B9F8-4E9E-8146-A1912DB13EE7}" type="presParOf" srcId="{C00C1696-DCF0-4074-AB74-0C4E48EDADE1}" destId="{D040586D-9D2C-43D2-AB44-2A3E6FF166C5}" srcOrd="0" destOrd="0" presId="urn:microsoft.com/office/officeart/2008/layout/LinedList"/>
    <dgm:cxn modelId="{7C055CD2-06F4-41DC-831C-E554FD91466A}" type="presParOf" srcId="{C00C1696-DCF0-4074-AB74-0C4E48EDADE1}" destId="{81A6655D-33EB-499B-A38A-3352E980CB49}" srcOrd="1" destOrd="0" presId="urn:microsoft.com/office/officeart/2008/layout/LinedList"/>
    <dgm:cxn modelId="{CCD4A946-7615-4EAB-91C1-599E111B4019}" type="presParOf" srcId="{81A6655D-33EB-499B-A38A-3352E980CB49}" destId="{F08827B7-34A5-4496-94C2-37E3B41F3C89}" srcOrd="0" destOrd="0" presId="urn:microsoft.com/office/officeart/2008/layout/LinedList"/>
    <dgm:cxn modelId="{2B9F1993-5268-4F54-9F6D-1943D1C5B835}" type="presParOf" srcId="{81A6655D-33EB-499B-A38A-3352E980CB49}" destId="{31AA0E48-E629-4A1F-84E4-86935EF341D2}" srcOrd="1" destOrd="0" presId="urn:microsoft.com/office/officeart/2008/layout/LinedList"/>
    <dgm:cxn modelId="{4988F313-4DE5-4E07-BF04-C4D3D715A140}" type="presParOf" srcId="{81A6655D-33EB-499B-A38A-3352E980CB49}" destId="{E9155F74-AFAA-4FCE-B6AC-481610170A45}" srcOrd="2" destOrd="0" presId="urn:microsoft.com/office/officeart/2008/layout/LinedList"/>
    <dgm:cxn modelId="{F9E8F9E0-2FEE-4451-B469-797C845336CD}" type="presParOf" srcId="{E9155F74-AFAA-4FCE-B6AC-481610170A45}" destId="{6B742A5F-600B-43AF-B950-4AC98EF03266}" srcOrd="0" destOrd="0" presId="urn:microsoft.com/office/officeart/2008/layout/LinedList"/>
    <dgm:cxn modelId="{FA276041-6F8E-48F6-9DCD-713766BF7A06}" type="presParOf" srcId="{6B742A5F-600B-43AF-B950-4AC98EF03266}" destId="{CA6814BE-8508-4020-B13D-277AB1A13C67}" srcOrd="0" destOrd="0" presId="urn:microsoft.com/office/officeart/2008/layout/LinedList"/>
    <dgm:cxn modelId="{D4ECDEA7-FA24-4A1E-ABC4-5926003F1D4B}" type="presParOf" srcId="{6B742A5F-600B-43AF-B950-4AC98EF03266}" destId="{6603E52E-95DF-4439-8402-9F613481FFD1}" srcOrd="1" destOrd="0" presId="urn:microsoft.com/office/officeart/2008/layout/LinedList"/>
    <dgm:cxn modelId="{5059ADB6-1D5C-4BA1-A73C-4448C2464358}" type="presParOf" srcId="{6B742A5F-600B-43AF-B950-4AC98EF03266}" destId="{9551CBD5-58A5-4056-90A2-071DBCD81D37}" srcOrd="2" destOrd="0" presId="urn:microsoft.com/office/officeart/2008/layout/LinedList"/>
    <dgm:cxn modelId="{057D4B71-9A01-43D7-A0D9-06E288281447}" type="presParOf" srcId="{C00C1696-DCF0-4074-AB74-0C4E48EDADE1}" destId="{8D42EAA7-8431-4D03-9079-635095B5A99E}" srcOrd="2" destOrd="0" presId="urn:microsoft.com/office/officeart/2008/layout/LinedList"/>
    <dgm:cxn modelId="{60C9D0AE-8387-424A-BB42-24C832579BC7}" type="presParOf" srcId="{C00C1696-DCF0-4074-AB74-0C4E48EDADE1}" destId="{61CE85FB-6E5B-49C9-87D6-A40ACAC99009}" srcOrd="3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4310D60-E56E-4CC7-8CB4-8175E1BCD8B7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B0B5CE9-2CEA-47CD-B469-52BC2AB2EB53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GB" dirty="0">
              <a:latin typeface="+mn-lt"/>
            </a:rPr>
            <a:t>2.</a:t>
          </a:r>
        </a:p>
      </dgm:t>
    </dgm:pt>
    <dgm:pt modelId="{F8E8A62A-D9CA-4972-8C11-A0BCB0060C82}" type="parTrans" cxnId="{81DCD0E4-5470-461C-A341-80771DB1BA30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95C9D0DC-57CE-4AA7-9773-411461D0F7A8}" type="sibTrans" cxnId="{81DCD0E4-5470-461C-A341-80771DB1BA30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31E4E801-8CB3-4500-B938-B22CCD3556F9}">
      <dgm:prSet phldrT="[Text]"/>
      <dgm:spPr/>
      <dgm:t>
        <a:bodyPr/>
        <a:lstStyle/>
        <a:p>
          <a:pPr>
            <a:lnSpc>
              <a:spcPct val="100000"/>
            </a:lnSpc>
          </a:pPr>
          <a:r>
            <a:rPr lang="en-GB" dirty="0">
              <a:latin typeface="+mn-lt"/>
            </a:rPr>
            <a:t>1.</a:t>
          </a:r>
          <a:endParaRPr lang="en-GB" b="0" dirty="0">
            <a:latin typeface="+mn-lt"/>
          </a:endParaRPr>
        </a:p>
      </dgm:t>
    </dgm:pt>
    <dgm:pt modelId="{0BCB138E-24D8-49BD-96DD-8AB14A833C2E}" type="parTrans" cxnId="{6CAC0B91-B62B-48D9-9973-AC7FB88870DF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DBB13854-6975-492C-9B9E-6968C7A7E1FC}" type="sibTrans" cxnId="{6CAC0B91-B62B-48D9-9973-AC7FB88870DF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9CB84A9D-1AB5-4310-A832-F56B5C578002}">
      <dgm:prSet phldrT="[Text]" custT="1"/>
      <dgm:spPr/>
      <dgm:t>
        <a:bodyPr/>
        <a:lstStyle/>
        <a:p>
          <a:pPr>
            <a:lnSpc>
              <a:spcPct val="100000"/>
            </a:lnSpc>
            <a:buClrTx/>
            <a:buSzTx/>
            <a:buFontTx/>
            <a:buNone/>
          </a:pPr>
          <a:r>
            <a:rPr kumimoji="0" lang="nb-NO" sz="1200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Tusenvis av brukere med ulik bakgrunn og kunnskap</a:t>
          </a:r>
          <a:endParaRPr lang="en-GB" sz="1200" dirty="0">
            <a:latin typeface="+mn-lt"/>
          </a:endParaRPr>
        </a:p>
      </dgm:t>
    </dgm:pt>
    <dgm:pt modelId="{13B9365F-348A-4DE5-8DD9-BB65017ADA5A}" type="parTrans" cxnId="{B6635081-09C8-483F-8772-2A98023DA512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CD63C3EB-9DDE-43E5-94A6-DBF6FA848196}" type="sibTrans" cxnId="{B6635081-09C8-483F-8772-2A98023DA512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AFB4F636-FAE5-47E0-8649-1F1B02EC2990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kumimoji="0" lang="nb-NO" sz="2000" b="1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Sikre en stabil brukeropplevelse</a:t>
          </a:r>
          <a:endParaRPr lang="nb-NO" sz="2000" noProof="0" dirty="0">
            <a:latin typeface="+mn-lt"/>
          </a:endParaRPr>
        </a:p>
      </dgm:t>
    </dgm:pt>
    <dgm:pt modelId="{D8E2E52A-1BDF-424D-B4DA-FD3E42115562}" type="parTrans" cxnId="{4ACCAB2A-750A-4EA7-B6D8-6ECCDA989FB3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ED393B3B-EE80-449F-A0BC-BD6E62AF6E86}" type="sibTrans" cxnId="{4ACCAB2A-750A-4EA7-B6D8-6ECCDA989FB3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C954C706-EF65-4D31-95CF-CD5B031D1E08}">
      <dgm:prSet phldrT="[Text]"/>
      <dgm:spPr/>
      <dgm:t>
        <a:bodyPr/>
        <a:lstStyle/>
        <a:p>
          <a:pPr>
            <a:lnSpc>
              <a:spcPct val="100000"/>
            </a:lnSpc>
            <a:buClrTx/>
            <a:buSzTx/>
            <a:buFontTx/>
            <a:buNone/>
          </a:pPr>
          <a:r>
            <a:rPr kumimoji="0" lang="en-US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3.</a:t>
          </a:r>
          <a:endParaRPr lang="en-GB" dirty="0">
            <a:latin typeface="+mn-lt"/>
          </a:endParaRPr>
        </a:p>
      </dgm:t>
    </dgm:pt>
    <dgm:pt modelId="{A3210A32-9BE9-446B-AFCB-AE6694A4646D}" type="parTrans" cxnId="{CDE53A54-5688-43B8-AED3-7043DED01610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4F76BB95-C126-4D77-8E2F-704B9629D217}" type="sibTrans" cxnId="{CDE53A54-5688-43B8-AED3-7043DED01610}">
      <dgm:prSet/>
      <dgm:spPr/>
      <dgm:t>
        <a:bodyPr/>
        <a:lstStyle/>
        <a:p>
          <a:pPr>
            <a:lnSpc>
              <a:spcPct val="100000"/>
            </a:lnSpc>
          </a:pPr>
          <a:endParaRPr lang="en-GB"/>
        </a:p>
      </dgm:t>
    </dgm:pt>
    <dgm:pt modelId="{70149C24-14E0-41E5-A23D-80F7DDAC6986}">
      <dgm:prSet phldrT="[Text]"/>
      <dgm:spPr/>
      <dgm:t>
        <a:bodyPr/>
        <a:lstStyle/>
        <a:p>
          <a:pPr>
            <a:buClrTx/>
            <a:buSzTx/>
            <a:buFontTx/>
            <a:buNone/>
          </a:pPr>
          <a:r>
            <a:rPr kumimoji="0" lang="nb-NO" b="1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Integrasjon i forretningsprosess</a:t>
          </a:r>
          <a:endParaRPr kumimoji="0" lang="en-GB" b="1" i="0" u="none" strike="noStrike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+mn-lt"/>
            <a:ea typeface="p22-mackinac-pro" pitchFamily="34" charset="-122"/>
            <a:cs typeface="p22-mackinac-pro" pitchFamily="34" charset="-120"/>
          </a:endParaRPr>
        </a:p>
      </dgm:t>
    </dgm:pt>
    <dgm:pt modelId="{759CE61A-032A-4AF0-B200-7716DF065215}" type="parTrans" cxnId="{2911CAC4-6B29-4F47-A90D-5B8CDCD77F9B}">
      <dgm:prSet/>
      <dgm:spPr/>
      <dgm:t>
        <a:bodyPr/>
        <a:lstStyle/>
        <a:p>
          <a:endParaRPr lang="en-GB"/>
        </a:p>
      </dgm:t>
    </dgm:pt>
    <dgm:pt modelId="{55540974-890B-44A8-8EC9-53E56AFB4D02}" type="sibTrans" cxnId="{2911CAC4-6B29-4F47-A90D-5B8CDCD77F9B}">
      <dgm:prSet/>
      <dgm:spPr/>
      <dgm:t>
        <a:bodyPr/>
        <a:lstStyle/>
        <a:p>
          <a:endParaRPr lang="en-GB"/>
        </a:p>
      </dgm:t>
    </dgm:pt>
    <dgm:pt modelId="{0299C2E1-10F2-43D4-AA5B-3D85823A98BD}">
      <dgm:prSet phldrT="[Text]"/>
      <dgm:spPr/>
      <dgm:t>
        <a:bodyPr/>
        <a:lstStyle/>
        <a:p>
          <a:pPr>
            <a:buClrTx/>
            <a:buSzTx/>
            <a:buFontTx/>
            <a:buNone/>
          </a:pPr>
          <a:r>
            <a:rPr lang="en-US" dirty="0" err="1">
              <a:solidFill>
                <a:srgbClr val="272525"/>
              </a:solidFill>
              <a:latin typeface="+mn-lt"/>
              <a:ea typeface="Eudoxus Sans" pitchFamily="34" charset="-122"/>
            </a:rPr>
            <a:t>Forretningsregler</a:t>
          </a:r>
          <a:r>
            <a:rPr lang="en-US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dirty="0" err="1">
              <a:solidFill>
                <a:srgbClr val="272525"/>
              </a:solidFill>
              <a:latin typeface="+mn-lt"/>
              <a:ea typeface="Eudoxus Sans" pitchFamily="34" charset="-122"/>
            </a:rPr>
            <a:t>datastrukturer</a:t>
          </a:r>
          <a:r>
            <a:rPr lang="en-US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dirty="0" err="1">
              <a:solidFill>
                <a:srgbClr val="272525"/>
              </a:solidFill>
              <a:latin typeface="+mn-lt"/>
              <a:ea typeface="Eudoxus Sans" pitchFamily="34" charset="-122"/>
            </a:rPr>
            <a:t>tilgangsrettigheter</a:t>
          </a:r>
          <a:r>
            <a:rPr lang="en-US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dirty="0" err="1">
              <a:solidFill>
                <a:srgbClr val="272525"/>
              </a:solidFill>
              <a:latin typeface="+mn-lt"/>
              <a:ea typeface="Eudoxus Sans" pitchFamily="34" charset="-122"/>
            </a:rPr>
            <a:t>integrasjoner</a:t>
          </a:r>
          <a:r>
            <a:rPr lang="en-US" dirty="0">
              <a:solidFill>
                <a:srgbClr val="272525"/>
              </a:solidFill>
              <a:latin typeface="+mn-lt"/>
              <a:ea typeface="Eudoxus Sans" pitchFamily="34" charset="-122"/>
            </a:rPr>
            <a:t> …</a:t>
          </a:r>
          <a:endParaRPr lang="en-GB" dirty="0">
            <a:latin typeface="+mn-lt"/>
          </a:endParaRPr>
        </a:p>
      </dgm:t>
    </dgm:pt>
    <dgm:pt modelId="{C8CD1A4C-5752-414D-9912-C4862D606F93}" type="parTrans" cxnId="{FF8AD0E2-CA6E-40B5-852E-B735B7468490}">
      <dgm:prSet/>
      <dgm:spPr/>
      <dgm:t>
        <a:bodyPr/>
        <a:lstStyle/>
        <a:p>
          <a:endParaRPr lang="en-GB"/>
        </a:p>
      </dgm:t>
    </dgm:pt>
    <dgm:pt modelId="{A7A57152-59DB-44AC-95F3-D44967205FBA}" type="sibTrans" cxnId="{FF8AD0E2-CA6E-40B5-852E-B735B7468490}">
      <dgm:prSet/>
      <dgm:spPr/>
      <dgm:t>
        <a:bodyPr/>
        <a:lstStyle/>
        <a:p>
          <a:endParaRPr lang="en-GB"/>
        </a:p>
      </dgm:t>
    </dgm:pt>
    <dgm:pt modelId="{54315DF9-02F4-4FCF-9544-24B9576EFF96}">
      <dgm:prSet phldrT="[Text]" custT="1"/>
      <dgm:spPr>
        <a:noFill/>
        <a:ln>
          <a:noFill/>
        </a:ln>
        <a:effectLst/>
      </dgm:spPr>
      <dgm:t>
        <a:bodyPr spcFirstLastPara="0" vert="horz" wrap="square" lIns="76200" tIns="76200" rIns="76200" bIns="76200" numCol="1" spcCol="1270" anchor="t" anchorCtr="0"/>
        <a:lstStyle/>
        <a:p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nde-</a:t>
          </a: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til</a:t>
          </a: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-</a:t>
          </a: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nde-automatisering</a:t>
          </a:r>
          <a:endParaRPr kumimoji="0" lang="en-GB" sz="2000" b="1" i="0" u="none" strike="noStrike" kern="1200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Calibri" panose="020F0502020204030204"/>
            <a:ea typeface="p22-mackinac-pro" pitchFamily="34" charset="-122"/>
            <a:cs typeface="p22-mackinac-pro" pitchFamily="34" charset="-120"/>
          </a:endParaRPr>
        </a:p>
      </dgm:t>
    </dgm:pt>
    <dgm:pt modelId="{2A1BA7A0-D318-4118-A939-6C9A4C348AC8}" type="parTrans" cxnId="{B2983B95-8EFF-424E-8B55-F6A213F9E747}">
      <dgm:prSet/>
      <dgm:spPr/>
      <dgm:t>
        <a:bodyPr/>
        <a:lstStyle/>
        <a:p>
          <a:endParaRPr lang="en-GB"/>
        </a:p>
      </dgm:t>
    </dgm:pt>
    <dgm:pt modelId="{CC7085F7-E9F3-4B1B-8303-832FE342D3C9}" type="sibTrans" cxnId="{B2983B95-8EFF-424E-8B55-F6A213F9E747}">
      <dgm:prSet/>
      <dgm:spPr/>
      <dgm:t>
        <a:bodyPr/>
        <a:lstStyle/>
        <a:p>
          <a:endParaRPr lang="en-GB"/>
        </a:p>
      </dgm:t>
    </dgm:pt>
    <dgm:pt modelId="{6418CCE0-65CB-4C07-8FB6-9C89AFC80B28}">
      <dgm:prSet phldrT="[Text]"/>
      <dgm:spPr/>
      <dgm:t>
        <a:bodyPr/>
        <a:lstStyle/>
        <a:p>
          <a:pPr>
            <a:buClrTx/>
            <a:buSzTx/>
            <a:buFontTx/>
            <a:buNone/>
          </a:pP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"</a:t>
          </a: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out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of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the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box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" løsninger uten kompliserte </a:t>
          </a: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implementerigs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- prosjekter</a:t>
          </a:r>
          <a:endParaRPr lang="en-GB" dirty="0">
            <a:latin typeface="+mn-lt"/>
          </a:endParaRPr>
        </a:p>
      </dgm:t>
    </dgm:pt>
    <dgm:pt modelId="{91920D38-AAC7-41C9-9F11-759160AE4DC7}" type="parTrans" cxnId="{29AA671D-D110-4E08-BC49-BE227E997DC2}">
      <dgm:prSet/>
      <dgm:spPr/>
      <dgm:t>
        <a:bodyPr/>
        <a:lstStyle/>
        <a:p>
          <a:endParaRPr lang="en-GB"/>
        </a:p>
      </dgm:t>
    </dgm:pt>
    <dgm:pt modelId="{B4ADED06-B33D-41B6-B7AB-3A541EF17BCA}" type="sibTrans" cxnId="{29AA671D-D110-4E08-BC49-BE227E997DC2}">
      <dgm:prSet/>
      <dgm:spPr/>
      <dgm:t>
        <a:bodyPr/>
        <a:lstStyle/>
        <a:p>
          <a:endParaRPr lang="en-GB"/>
        </a:p>
      </dgm:t>
    </dgm:pt>
    <dgm:pt modelId="{45FB32F1-C127-4A45-8E8D-A2DE920E446E}">
      <dgm:prSet phldrT="[Text]" custT="1"/>
      <dgm:spPr/>
      <dgm:t>
        <a:bodyPr/>
        <a:lstStyle/>
        <a:p>
          <a:pPr>
            <a:lnSpc>
              <a:spcPct val="100000"/>
            </a:lnSpc>
            <a:buClrTx/>
            <a:buSzTx/>
            <a:buFontTx/>
            <a:buNone/>
          </a:pPr>
          <a:r>
            <a:rPr lang="en-GB" sz="1200" dirty="0" err="1">
              <a:latin typeface="+mn-lt"/>
            </a:rPr>
            <a:t>Begrenset</a:t>
          </a:r>
          <a:r>
            <a:rPr lang="en-GB" sz="1200" dirty="0">
              <a:latin typeface="+mn-lt"/>
            </a:rPr>
            <a:t> </a:t>
          </a:r>
          <a:r>
            <a:rPr lang="en-GB" sz="1200" dirty="0" err="1">
              <a:latin typeface="+mn-lt"/>
            </a:rPr>
            <a:t>kontroll</a:t>
          </a:r>
          <a:r>
            <a:rPr lang="en-GB" sz="1200" dirty="0">
              <a:latin typeface="+mn-lt"/>
            </a:rPr>
            <a:t> </a:t>
          </a:r>
          <a:r>
            <a:rPr lang="en-GB" sz="1200" dirty="0" err="1">
              <a:latin typeface="+mn-lt"/>
            </a:rPr>
            <a:t>på</a:t>
          </a:r>
          <a:r>
            <a:rPr lang="en-GB" sz="1200" dirty="0">
              <a:latin typeface="+mn-lt"/>
            </a:rPr>
            <a:t> LLM modeller</a:t>
          </a:r>
        </a:p>
      </dgm:t>
    </dgm:pt>
    <dgm:pt modelId="{BA7600AD-93DB-4392-937B-49C784101ECE}" type="parTrans" cxnId="{C4293B22-A02C-4100-B341-55299CBAC129}">
      <dgm:prSet/>
      <dgm:spPr/>
      <dgm:t>
        <a:bodyPr/>
        <a:lstStyle/>
        <a:p>
          <a:endParaRPr lang="en-GB"/>
        </a:p>
      </dgm:t>
    </dgm:pt>
    <dgm:pt modelId="{56584159-1F4B-4505-83A7-2DB481A317D9}" type="sibTrans" cxnId="{C4293B22-A02C-4100-B341-55299CBAC129}">
      <dgm:prSet/>
      <dgm:spPr/>
      <dgm:t>
        <a:bodyPr/>
        <a:lstStyle/>
        <a:p>
          <a:endParaRPr lang="en-GB"/>
        </a:p>
      </dgm:t>
    </dgm:pt>
    <dgm:pt modelId="{42A8D2FB-7134-47B2-9617-DD6FCAEDEDBE}">
      <dgm:prSet phldrT="[Text]"/>
      <dgm:spPr/>
      <dgm:t>
        <a:bodyPr/>
        <a:lstStyle/>
        <a:p>
          <a:pPr>
            <a:buClrTx/>
            <a:buSzTx/>
            <a:buFontTx/>
            <a:buNone/>
          </a:pPr>
          <a:r>
            <a:rPr lang="en-GB" dirty="0">
              <a:latin typeface="+mn-lt"/>
            </a:rPr>
            <a:t>4.</a:t>
          </a:r>
        </a:p>
      </dgm:t>
    </dgm:pt>
    <dgm:pt modelId="{C496D48C-0166-457E-8BC7-6E72DA107791}" type="parTrans" cxnId="{17DEB1C4-81BA-4788-A97B-5F3863788407}">
      <dgm:prSet/>
      <dgm:spPr/>
      <dgm:t>
        <a:bodyPr/>
        <a:lstStyle/>
        <a:p>
          <a:endParaRPr lang="en-GB"/>
        </a:p>
      </dgm:t>
    </dgm:pt>
    <dgm:pt modelId="{16E66D29-731B-4511-98C1-609F76F1395A}" type="sibTrans" cxnId="{17DEB1C4-81BA-4788-A97B-5F3863788407}">
      <dgm:prSet/>
      <dgm:spPr/>
      <dgm:t>
        <a:bodyPr/>
        <a:lstStyle/>
        <a:p>
          <a:endParaRPr lang="en-GB"/>
        </a:p>
      </dgm:t>
    </dgm:pt>
    <dgm:pt modelId="{3A0EB6F6-AE92-42DD-8E49-61F17792D04B}">
      <dgm:prSet phldrT="[Text]" custT="1"/>
      <dgm:spPr>
        <a:noFill/>
        <a:ln>
          <a:noFill/>
        </a:ln>
        <a:effectLst/>
      </dgm:spPr>
      <dgm:t>
        <a:bodyPr spcFirstLastPara="0" vert="horz" wrap="square" lIns="76200" tIns="76200" rIns="76200" bIns="76200" numCol="1" spcCol="1270" anchor="t" anchorCtr="0"/>
        <a:lstStyle/>
        <a:p>
          <a:pPr>
            <a:buClrTx/>
            <a:buSzTx/>
            <a:buFontTx/>
            <a:buNone/>
          </a:pP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ffektiv</a:t>
          </a: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 </a:t>
          </a:r>
          <a:b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</a:b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KI-Governance</a:t>
          </a:r>
          <a:endParaRPr lang="en-GB" sz="2000" kern="1200" dirty="0">
            <a:latin typeface="+mn-lt"/>
          </a:endParaRPr>
        </a:p>
      </dgm:t>
    </dgm:pt>
    <dgm:pt modelId="{5571AF25-6156-461D-A80B-13007890F28A}" type="parTrans" cxnId="{2EF5DAA2-F4DA-4264-BEC4-13A1041893A2}">
      <dgm:prSet/>
      <dgm:spPr/>
      <dgm:t>
        <a:bodyPr/>
        <a:lstStyle/>
        <a:p>
          <a:endParaRPr lang="en-GB"/>
        </a:p>
      </dgm:t>
    </dgm:pt>
    <dgm:pt modelId="{6E9A69A0-B57A-497A-AB7A-07492C4799E4}" type="sibTrans" cxnId="{2EF5DAA2-F4DA-4264-BEC4-13A1041893A2}">
      <dgm:prSet/>
      <dgm:spPr/>
      <dgm:t>
        <a:bodyPr/>
        <a:lstStyle/>
        <a:p>
          <a:endParaRPr lang="en-GB"/>
        </a:p>
      </dgm:t>
    </dgm:pt>
    <dgm:pt modelId="{797FB601-B782-44B1-A92D-996E13FE5CA4}">
      <dgm:prSet phldrT="[Text]"/>
      <dgm:spPr/>
      <dgm:t>
        <a:bodyPr/>
        <a:lstStyle/>
        <a:p>
          <a:pPr>
            <a:buClrTx/>
            <a:buSzTx/>
            <a:buFontTx/>
            <a:buNone/>
          </a:pPr>
          <a:r>
            <a:rPr kumimoji="0" lang="nb-NO" b="0" i="0" u="none" strike="noStrike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Governance</a:t>
          </a:r>
          <a:r>
            <a:rPr kumimoji="0" lang="nb-NO" b="0" i="0" u="none" strike="noStrike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prosess som holder tritt med fart og omfang av konsept og teknologi innovasjon</a:t>
          </a:r>
          <a:endParaRPr kumimoji="0" lang="en-GB" b="0" i="0" u="none" strike="noStrike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+mn-lt"/>
            <a:ea typeface="Eudoxus Sans" pitchFamily="34" charset="-122"/>
            <a:cs typeface="Eudoxus Sans" pitchFamily="34" charset="-120"/>
          </a:endParaRPr>
        </a:p>
      </dgm:t>
    </dgm:pt>
    <dgm:pt modelId="{DDDB8D55-25C4-4A0D-8EE9-F0F2542B5935}" type="parTrans" cxnId="{B67C8549-594E-4128-8DBD-350AB8C24D1C}">
      <dgm:prSet/>
      <dgm:spPr/>
      <dgm:t>
        <a:bodyPr/>
        <a:lstStyle/>
        <a:p>
          <a:endParaRPr lang="en-GB"/>
        </a:p>
      </dgm:t>
    </dgm:pt>
    <dgm:pt modelId="{029B3BE8-D1F6-4527-BDC0-7D941DA1F9E6}" type="sibTrans" cxnId="{B67C8549-594E-4128-8DBD-350AB8C24D1C}">
      <dgm:prSet/>
      <dgm:spPr/>
      <dgm:t>
        <a:bodyPr/>
        <a:lstStyle/>
        <a:p>
          <a:endParaRPr lang="en-GB"/>
        </a:p>
      </dgm:t>
    </dgm:pt>
    <dgm:pt modelId="{F30BFB1F-71CD-451D-A167-6C09F4E98357}" type="pres">
      <dgm:prSet presAssocID="{84310D60-E56E-4CC7-8CB4-8175E1BCD8B7}" presName="vert0" presStyleCnt="0">
        <dgm:presLayoutVars>
          <dgm:dir/>
          <dgm:animOne val="branch"/>
          <dgm:animLvl val="lvl"/>
        </dgm:presLayoutVars>
      </dgm:prSet>
      <dgm:spPr/>
    </dgm:pt>
    <dgm:pt modelId="{8758DBA2-343B-4FAF-B2D0-839CCAD8BC56}" type="pres">
      <dgm:prSet presAssocID="{31E4E801-8CB3-4500-B938-B22CCD3556F9}" presName="thickLine" presStyleLbl="alignNode1" presStyleIdx="0" presStyleCnt="4"/>
      <dgm:spPr/>
    </dgm:pt>
    <dgm:pt modelId="{8F0D5ABA-487F-4BE2-80D7-C7537CF36CE5}" type="pres">
      <dgm:prSet presAssocID="{31E4E801-8CB3-4500-B938-B22CCD3556F9}" presName="horz1" presStyleCnt="0"/>
      <dgm:spPr/>
    </dgm:pt>
    <dgm:pt modelId="{CDDBED3E-D6B3-45EA-901F-E062F2534651}" type="pres">
      <dgm:prSet presAssocID="{31E4E801-8CB3-4500-B938-B22CCD3556F9}" presName="tx1" presStyleLbl="revTx" presStyleIdx="0" presStyleCnt="13"/>
      <dgm:spPr/>
    </dgm:pt>
    <dgm:pt modelId="{AB84DCEF-F532-475D-BF20-D9EAD0CDE35F}" type="pres">
      <dgm:prSet presAssocID="{31E4E801-8CB3-4500-B938-B22CCD3556F9}" presName="vert1" presStyleCnt="0"/>
      <dgm:spPr/>
    </dgm:pt>
    <dgm:pt modelId="{40BE354B-05DB-4845-8278-5EECF4C4A7A7}" type="pres">
      <dgm:prSet presAssocID="{70149C24-14E0-41E5-A23D-80F7DDAC6986}" presName="vertSpace2a" presStyleCnt="0"/>
      <dgm:spPr/>
    </dgm:pt>
    <dgm:pt modelId="{28532809-9687-4CC7-A6F1-7EB3E265888A}" type="pres">
      <dgm:prSet presAssocID="{70149C24-14E0-41E5-A23D-80F7DDAC6986}" presName="horz2" presStyleCnt="0"/>
      <dgm:spPr/>
    </dgm:pt>
    <dgm:pt modelId="{9DDA9327-1C36-40F0-B9F8-5C0691CAC8E6}" type="pres">
      <dgm:prSet presAssocID="{70149C24-14E0-41E5-A23D-80F7DDAC6986}" presName="horzSpace2" presStyleCnt="0"/>
      <dgm:spPr/>
    </dgm:pt>
    <dgm:pt modelId="{84C58614-7037-4AC5-B328-187E7C300F94}" type="pres">
      <dgm:prSet presAssocID="{70149C24-14E0-41E5-A23D-80F7DDAC6986}" presName="tx2" presStyleLbl="revTx" presStyleIdx="1" presStyleCnt="13"/>
      <dgm:spPr/>
    </dgm:pt>
    <dgm:pt modelId="{3519C762-22B9-452E-9D63-B08AEE711931}" type="pres">
      <dgm:prSet presAssocID="{70149C24-14E0-41E5-A23D-80F7DDAC6986}" presName="vert2" presStyleCnt="0"/>
      <dgm:spPr/>
    </dgm:pt>
    <dgm:pt modelId="{EFCDBE41-9A7E-4C3A-9411-113C467EBDF6}" type="pres">
      <dgm:prSet presAssocID="{0299C2E1-10F2-43D4-AA5B-3D85823A98BD}" presName="horz3" presStyleCnt="0"/>
      <dgm:spPr/>
    </dgm:pt>
    <dgm:pt modelId="{F692DB52-83FA-4D34-A29D-E85A38465034}" type="pres">
      <dgm:prSet presAssocID="{0299C2E1-10F2-43D4-AA5B-3D85823A98BD}" presName="horzSpace3" presStyleCnt="0"/>
      <dgm:spPr/>
    </dgm:pt>
    <dgm:pt modelId="{718169AB-0FD1-4908-A801-75DAA5C50842}" type="pres">
      <dgm:prSet presAssocID="{0299C2E1-10F2-43D4-AA5B-3D85823A98BD}" presName="tx3" presStyleLbl="revTx" presStyleIdx="2" presStyleCnt="13"/>
      <dgm:spPr/>
    </dgm:pt>
    <dgm:pt modelId="{90D38AD2-7420-4B18-B445-6EE2BAA932F7}" type="pres">
      <dgm:prSet presAssocID="{0299C2E1-10F2-43D4-AA5B-3D85823A98BD}" presName="vert3" presStyleCnt="0"/>
      <dgm:spPr/>
    </dgm:pt>
    <dgm:pt modelId="{07AA2E4B-2FC5-4F2F-B6BB-647F130CE34C}" type="pres">
      <dgm:prSet presAssocID="{70149C24-14E0-41E5-A23D-80F7DDAC6986}" presName="thinLine2b" presStyleLbl="callout" presStyleIdx="0" presStyleCnt="5"/>
      <dgm:spPr/>
    </dgm:pt>
    <dgm:pt modelId="{05AAC90C-08A3-4966-A704-5C5CFDC3A7F9}" type="pres">
      <dgm:prSet presAssocID="{70149C24-14E0-41E5-A23D-80F7DDAC6986}" presName="vertSpace2b" presStyleCnt="0"/>
      <dgm:spPr/>
    </dgm:pt>
    <dgm:pt modelId="{2C1DF126-C412-4199-9639-D1560F90BD19}" type="pres">
      <dgm:prSet presAssocID="{2B0B5CE9-2CEA-47CD-B469-52BC2AB2EB53}" presName="thickLine" presStyleLbl="alignNode1" presStyleIdx="1" presStyleCnt="4"/>
      <dgm:spPr/>
    </dgm:pt>
    <dgm:pt modelId="{FCA80EE3-E758-4B88-9F1E-D78C8EC2EDDF}" type="pres">
      <dgm:prSet presAssocID="{2B0B5CE9-2CEA-47CD-B469-52BC2AB2EB53}" presName="horz1" presStyleCnt="0"/>
      <dgm:spPr/>
    </dgm:pt>
    <dgm:pt modelId="{43C21E66-6FF5-4198-9ADD-4AB69424E49F}" type="pres">
      <dgm:prSet presAssocID="{2B0B5CE9-2CEA-47CD-B469-52BC2AB2EB53}" presName="tx1" presStyleLbl="revTx" presStyleIdx="3" presStyleCnt="13"/>
      <dgm:spPr/>
    </dgm:pt>
    <dgm:pt modelId="{B33A23C0-0B1C-4FA4-AA38-EAE38F72359A}" type="pres">
      <dgm:prSet presAssocID="{2B0B5CE9-2CEA-47CD-B469-52BC2AB2EB53}" presName="vert1" presStyleCnt="0"/>
      <dgm:spPr/>
    </dgm:pt>
    <dgm:pt modelId="{B242F500-48F3-4209-A9A8-8AECAF2FBDA7}" type="pres">
      <dgm:prSet presAssocID="{AFB4F636-FAE5-47E0-8649-1F1B02EC2990}" presName="vertSpace2a" presStyleCnt="0"/>
      <dgm:spPr/>
    </dgm:pt>
    <dgm:pt modelId="{CD04513C-4A78-4BD7-9B35-C05A37B91468}" type="pres">
      <dgm:prSet presAssocID="{AFB4F636-FAE5-47E0-8649-1F1B02EC2990}" presName="horz2" presStyleCnt="0"/>
      <dgm:spPr/>
    </dgm:pt>
    <dgm:pt modelId="{7F93D033-9764-4484-8131-0F367E2E681B}" type="pres">
      <dgm:prSet presAssocID="{AFB4F636-FAE5-47E0-8649-1F1B02EC2990}" presName="horzSpace2" presStyleCnt="0"/>
      <dgm:spPr/>
    </dgm:pt>
    <dgm:pt modelId="{E51757D3-76CF-4A64-A04D-A1C08C7A6F2A}" type="pres">
      <dgm:prSet presAssocID="{AFB4F636-FAE5-47E0-8649-1F1B02EC2990}" presName="tx2" presStyleLbl="revTx" presStyleIdx="4" presStyleCnt="13"/>
      <dgm:spPr/>
    </dgm:pt>
    <dgm:pt modelId="{58A57834-A45F-4C2E-BA93-714501039B4F}" type="pres">
      <dgm:prSet presAssocID="{AFB4F636-FAE5-47E0-8649-1F1B02EC2990}" presName="vert2" presStyleCnt="0"/>
      <dgm:spPr/>
    </dgm:pt>
    <dgm:pt modelId="{07AEF852-CB80-4512-9597-BEFEEAA94BE4}" type="pres">
      <dgm:prSet presAssocID="{9CB84A9D-1AB5-4310-A832-F56B5C578002}" presName="horz3" presStyleCnt="0"/>
      <dgm:spPr/>
    </dgm:pt>
    <dgm:pt modelId="{9F5BB500-3282-4DA2-9DEF-3C91828DAC17}" type="pres">
      <dgm:prSet presAssocID="{9CB84A9D-1AB5-4310-A832-F56B5C578002}" presName="horzSpace3" presStyleCnt="0"/>
      <dgm:spPr/>
    </dgm:pt>
    <dgm:pt modelId="{804086FF-BD4C-4D02-8E28-77121C82CF2C}" type="pres">
      <dgm:prSet presAssocID="{9CB84A9D-1AB5-4310-A832-F56B5C578002}" presName="tx3" presStyleLbl="revTx" presStyleIdx="5" presStyleCnt="13"/>
      <dgm:spPr/>
    </dgm:pt>
    <dgm:pt modelId="{35B9FDE8-2699-4135-97A6-B0BEF0BB476B}" type="pres">
      <dgm:prSet presAssocID="{9CB84A9D-1AB5-4310-A832-F56B5C578002}" presName="vert3" presStyleCnt="0"/>
      <dgm:spPr/>
    </dgm:pt>
    <dgm:pt modelId="{59A70CAF-EF7B-4101-AD20-FA66B28EF028}" type="pres">
      <dgm:prSet presAssocID="{CD63C3EB-9DDE-43E5-94A6-DBF6FA848196}" presName="thinLine3" presStyleLbl="callout" presStyleIdx="1" presStyleCnt="5"/>
      <dgm:spPr/>
    </dgm:pt>
    <dgm:pt modelId="{300A68D8-5267-4360-B8BA-C77EEA39AF3F}" type="pres">
      <dgm:prSet presAssocID="{45FB32F1-C127-4A45-8E8D-A2DE920E446E}" presName="horz3" presStyleCnt="0"/>
      <dgm:spPr/>
    </dgm:pt>
    <dgm:pt modelId="{D7DEF4B7-4431-49A7-BF58-5D7AE8465AE6}" type="pres">
      <dgm:prSet presAssocID="{45FB32F1-C127-4A45-8E8D-A2DE920E446E}" presName="horzSpace3" presStyleCnt="0"/>
      <dgm:spPr/>
    </dgm:pt>
    <dgm:pt modelId="{8639A28C-AD7A-46A6-89CC-FD629542D662}" type="pres">
      <dgm:prSet presAssocID="{45FB32F1-C127-4A45-8E8D-A2DE920E446E}" presName="tx3" presStyleLbl="revTx" presStyleIdx="6" presStyleCnt="13"/>
      <dgm:spPr/>
    </dgm:pt>
    <dgm:pt modelId="{28761063-BB1E-48A8-9839-DAB35BA629C5}" type="pres">
      <dgm:prSet presAssocID="{45FB32F1-C127-4A45-8E8D-A2DE920E446E}" presName="vert3" presStyleCnt="0"/>
      <dgm:spPr/>
    </dgm:pt>
    <dgm:pt modelId="{1E6A02EF-3187-423A-BEB2-AF7CD908F185}" type="pres">
      <dgm:prSet presAssocID="{AFB4F636-FAE5-47E0-8649-1F1B02EC2990}" presName="thinLine2b" presStyleLbl="callout" presStyleIdx="2" presStyleCnt="5"/>
      <dgm:spPr/>
    </dgm:pt>
    <dgm:pt modelId="{8B83C0E6-DD3B-465A-BCB7-92E484F4C3D0}" type="pres">
      <dgm:prSet presAssocID="{AFB4F636-FAE5-47E0-8649-1F1B02EC2990}" presName="vertSpace2b" presStyleCnt="0"/>
      <dgm:spPr/>
    </dgm:pt>
    <dgm:pt modelId="{0C8B9503-63C0-4520-BC14-DDEC3B4D072B}" type="pres">
      <dgm:prSet presAssocID="{C954C706-EF65-4D31-95CF-CD5B031D1E08}" presName="thickLine" presStyleLbl="alignNode1" presStyleIdx="2" presStyleCnt="4"/>
      <dgm:spPr/>
    </dgm:pt>
    <dgm:pt modelId="{67B9CEBE-C840-4698-BE80-A50A6138235D}" type="pres">
      <dgm:prSet presAssocID="{C954C706-EF65-4D31-95CF-CD5B031D1E08}" presName="horz1" presStyleCnt="0"/>
      <dgm:spPr/>
    </dgm:pt>
    <dgm:pt modelId="{8F71F20C-BE1E-4F90-8BA3-1D0212A56127}" type="pres">
      <dgm:prSet presAssocID="{C954C706-EF65-4D31-95CF-CD5B031D1E08}" presName="tx1" presStyleLbl="revTx" presStyleIdx="7" presStyleCnt="13"/>
      <dgm:spPr/>
    </dgm:pt>
    <dgm:pt modelId="{170F9447-52A6-49A8-8C7E-791DDB250B29}" type="pres">
      <dgm:prSet presAssocID="{C954C706-EF65-4D31-95CF-CD5B031D1E08}" presName="vert1" presStyleCnt="0"/>
      <dgm:spPr/>
    </dgm:pt>
    <dgm:pt modelId="{77CB27D8-D8EB-4B48-B6C3-4330F1ACE4B9}" type="pres">
      <dgm:prSet presAssocID="{54315DF9-02F4-4FCF-9544-24B9576EFF96}" presName="vertSpace2a" presStyleCnt="0"/>
      <dgm:spPr/>
    </dgm:pt>
    <dgm:pt modelId="{3290A2B1-375A-45F7-ADB0-9215DF2BDC25}" type="pres">
      <dgm:prSet presAssocID="{54315DF9-02F4-4FCF-9544-24B9576EFF96}" presName="horz2" presStyleCnt="0"/>
      <dgm:spPr/>
    </dgm:pt>
    <dgm:pt modelId="{6244D28D-806D-4DBF-9E95-234779416465}" type="pres">
      <dgm:prSet presAssocID="{54315DF9-02F4-4FCF-9544-24B9576EFF96}" presName="horzSpace2" presStyleCnt="0"/>
      <dgm:spPr/>
    </dgm:pt>
    <dgm:pt modelId="{DEA036F4-4D9B-48B9-89B7-B2658DE4CE4D}" type="pres">
      <dgm:prSet presAssocID="{54315DF9-02F4-4FCF-9544-24B9576EFF96}" presName="tx2" presStyleLbl="revTx" presStyleIdx="8" presStyleCnt="13"/>
      <dgm:spPr>
        <a:xfrm>
          <a:off x="1323139" y="1952149"/>
          <a:ext cx="2369343" cy="866793"/>
        </a:xfrm>
        <a:prstGeom prst="rect">
          <a:avLst/>
        </a:prstGeom>
      </dgm:spPr>
    </dgm:pt>
    <dgm:pt modelId="{614438A7-5A3B-408C-B796-F1A0D39F3776}" type="pres">
      <dgm:prSet presAssocID="{54315DF9-02F4-4FCF-9544-24B9576EFF96}" presName="vert2" presStyleCnt="0"/>
      <dgm:spPr/>
    </dgm:pt>
    <dgm:pt modelId="{52999005-AC72-476B-B122-25995837F9CA}" type="pres">
      <dgm:prSet presAssocID="{6418CCE0-65CB-4C07-8FB6-9C89AFC80B28}" presName="horz3" presStyleCnt="0"/>
      <dgm:spPr/>
    </dgm:pt>
    <dgm:pt modelId="{227CEB18-DE89-4D65-BBE7-624946906277}" type="pres">
      <dgm:prSet presAssocID="{6418CCE0-65CB-4C07-8FB6-9C89AFC80B28}" presName="horzSpace3" presStyleCnt="0"/>
      <dgm:spPr/>
    </dgm:pt>
    <dgm:pt modelId="{93E06218-B209-4928-855A-F13352CA9344}" type="pres">
      <dgm:prSet presAssocID="{6418CCE0-65CB-4C07-8FB6-9C89AFC80B28}" presName="tx3" presStyleLbl="revTx" presStyleIdx="9" presStyleCnt="13"/>
      <dgm:spPr/>
    </dgm:pt>
    <dgm:pt modelId="{B9D62C5F-CD2C-4278-A844-40372A1AF29A}" type="pres">
      <dgm:prSet presAssocID="{6418CCE0-65CB-4C07-8FB6-9C89AFC80B28}" presName="vert3" presStyleCnt="0"/>
      <dgm:spPr/>
    </dgm:pt>
    <dgm:pt modelId="{BA360986-FE0F-4517-9E13-58CEBD9D77C1}" type="pres">
      <dgm:prSet presAssocID="{54315DF9-02F4-4FCF-9544-24B9576EFF96}" presName="thinLine2b" presStyleLbl="callout" presStyleIdx="3" presStyleCnt="5"/>
      <dgm:spPr/>
    </dgm:pt>
    <dgm:pt modelId="{6D15EB8E-26E2-4BF3-B1D8-3A8AEA9DE4C2}" type="pres">
      <dgm:prSet presAssocID="{54315DF9-02F4-4FCF-9544-24B9576EFF96}" presName="vertSpace2b" presStyleCnt="0"/>
      <dgm:spPr/>
    </dgm:pt>
    <dgm:pt modelId="{7D20B13A-EF89-4C0B-A462-AB01F7D03BFF}" type="pres">
      <dgm:prSet presAssocID="{42A8D2FB-7134-47B2-9617-DD6FCAEDEDBE}" presName="thickLine" presStyleLbl="alignNode1" presStyleIdx="3" presStyleCnt="4"/>
      <dgm:spPr/>
    </dgm:pt>
    <dgm:pt modelId="{7B8939D5-64F8-4D0C-A995-C0C9BAB24065}" type="pres">
      <dgm:prSet presAssocID="{42A8D2FB-7134-47B2-9617-DD6FCAEDEDBE}" presName="horz1" presStyleCnt="0"/>
      <dgm:spPr/>
    </dgm:pt>
    <dgm:pt modelId="{C36752E2-C357-4B45-A29C-F8EC1FD199E0}" type="pres">
      <dgm:prSet presAssocID="{42A8D2FB-7134-47B2-9617-DD6FCAEDEDBE}" presName="tx1" presStyleLbl="revTx" presStyleIdx="10" presStyleCnt="13"/>
      <dgm:spPr/>
    </dgm:pt>
    <dgm:pt modelId="{C00C1696-DCF0-4074-AB74-0C4E48EDADE1}" type="pres">
      <dgm:prSet presAssocID="{42A8D2FB-7134-47B2-9617-DD6FCAEDEDBE}" presName="vert1" presStyleCnt="0"/>
      <dgm:spPr/>
    </dgm:pt>
    <dgm:pt modelId="{D040586D-9D2C-43D2-AB44-2A3E6FF166C5}" type="pres">
      <dgm:prSet presAssocID="{3A0EB6F6-AE92-42DD-8E49-61F17792D04B}" presName="vertSpace2a" presStyleCnt="0"/>
      <dgm:spPr/>
    </dgm:pt>
    <dgm:pt modelId="{81A6655D-33EB-499B-A38A-3352E980CB49}" type="pres">
      <dgm:prSet presAssocID="{3A0EB6F6-AE92-42DD-8E49-61F17792D04B}" presName="horz2" presStyleCnt="0"/>
      <dgm:spPr/>
    </dgm:pt>
    <dgm:pt modelId="{F08827B7-34A5-4496-94C2-37E3B41F3C89}" type="pres">
      <dgm:prSet presAssocID="{3A0EB6F6-AE92-42DD-8E49-61F17792D04B}" presName="horzSpace2" presStyleCnt="0"/>
      <dgm:spPr/>
    </dgm:pt>
    <dgm:pt modelId="{31AA0E48-E629-4A1F-84E4-86935EF341D2}" type="pres">
      <dgm:prSet presAssocID="{3A0EB6F6-AE92-42DD-8E49-61F17792D04B}" presName="tx2" presStyleLbl="revTx" presStyleIdx="11" presStyleCnt="13"/>
      <dgm:spPr>
        <a:xfrm>
          <a:off x="1323139" y="2906553"/>
          <a:ext cx="2369343" cy="866793"/>
        </a:xfrm>
        <a:prstGeom prst="rect">
          <a:avLst/>
        </a:prstGeom>
      </dgm:spPr>
    </dgm:pt>
    <dgm:pt modelId="{E9155F74-AFAA-4FCE-B6AC-481610170A45}" type="pres">
      <dgm:prSet presAssocID="{3A0EB6F6-AE92-42DD-8E49-61F17792D04B}" presName="vert2" presStyleCnt="0"/>
      <dgm:spPr/>
    </dgm:pt>
    <dgm:pt modelId="{6B742A5F-600B-43AF-B950-4AC98EF03266}" type="pres">
      <dgm:prSet presAssocID="{797FB601-B782-44B1-A92D-996E13FE5CA4}" presName="horz3" presStyleCnt="0"/>
      <dgm:spPr/>
    </dgm:pt>
    <dgm:pt modelId="{CA6814BE-8508-4020-B13D-277AB1A13C67}" type="pres">
      <dgm:prSet presAssocID="{797FB601-B782-44B1-A92D-996E13FE5CA4}" presName="horzSpace3" presStyleCnt="0"/>
      <dgm:spPr/>
    </dgm:pt>
    <dgm:pt modelId="{6603E52E-95DF-4439-8402-9F613481FFD1}" type="pres">
      <dgm:prSet presAssocID="{797FB601-B782-44B1-A92D-996E13FE5CA4}" presName="tx3" presStyleLbl="revTx" presStyleIdx="12" presStyleCnt="13"/>
      <dgm:spPr/>
    </dgm:pt>
    <dgm:pt modelId="{9551CBD5-58A5-4056-90A2-071DBCD81D37}" type="pres">
      <dgm:prSet presAssocID="{797FB601-B782-44B1-A92D-996E13FE5CA4}" presName="vert3" presStyleCnt="0"/>
      <dgm:spPr/>
    </dgm:pt>
    <dgm:pt modelId="{8D42EAA7-8431-4D03-9079-635095B5A99E}" type="pres">
      <dgm:prSet presAssocID="{3A0EB6F6-AE92-42DD-8E49-61F17792D04B}" presName="thinLine2b" presStyleLbl="callout" presStyleIdx="4" presStyleCnt="5"/>
      <dgm:spPr/>
    </dgm:pt>
    <dgm:pt modelId="{61CE85FB-6E5B-49C9-87D6-A40ACAC99009}" type="pres">
      <dgm:prSet presAssocID="{3A0EB6F6-AE92-42DD-8E49-61F17792D04B}" presName="vertSpace2b" presStyleCnt="0"/>
      <dgm:spPr/>
    </dgm:pt>
  </dgm:ptLst>
  <dgm:cxnLst>
    <dgm:cxn modelId="{435B2802-058D-4C23-A1FC-097BDDBB25E8}" type="presOf" srcId="{42A8D2FB-7134-47B2-9617-DD6FCAEDEDBE}" destId="{C36752E2-C357-4B45-A29C-F8EC1FD199E0}" srcOrd="0" destOrd="0" presId="urn:microsoft.com/office/officeart/2008/layout/LinedList"/>
    <dgm:cxn modelId="{1CEF6B07-EADC-4356-A6D5-6292618DC435}" type="presOf" srcId="{3A0EB6F6-AE92-42DD-8E49-61F17792D04B}" destId="{31AA0E48-E629-4A1F-84E4-86935EF341D2}" srcOrd="0" destOrd="0" presId="urn:microsoft.com/office/officeart/2008/layout/LinedList"/>
    <dgm:cxn modelId="{29AA671D-D110-4E08-BC49-BE227E997DC2}" srcId="{54315DF9-02F4-4FCF-9544-24B9576EFF96}" destId="{6418CCE0-65CB-4C07-8FB6-9C89AFC80B28}" srcOrd="0" destOrd="0" parTransId="{91920D38-AAC7-41C9-9F11-759160AE4DC7}" sibTransId="{B4ADED06-B33D-41B6-B7AB-3A541EF17BCA}"/>
    <dgm:cxn modelId="{C4293B22-A02C-4100-B341-55299CBAC129}" srcId="{AFB4F636-FAE5-47E0-8649-1F1B02EC2990}" destId="{45FB32F1-C127-4A45-8E8D-A2DE920E446E}" srcOrd="1" destOrd="0" parTransId="{BA7600AD-93DB-4392-937B-49C784101ECE}" sibTransId="{56584159-1F4B-4505-83A7-2DB481A317D9}"/>
    <dgm:cxn modelId="{4ACCAB2A-750A-4EA7-B6D8-6ECCDA989FB3}" srcId="{2B0B5CE9-2CEA-47CD-B469-52BC2AB2EB53}" destId="{AFB4F636-FAE5-47E0-8649-1F1B02EC2990}" srcOrd="0" destOrd="0" parTransId="{D8E2E52A-1BDF-424D-B4DA-FD3E42115562}" sibTransId="{ED393B3B-EE80-449F-A0BC-BD6E62AF6E86}"/>
    <dgm:cxn modelId="{7E9EE83A-6A20-4619-B657-B9F4FA13BF9E}" type="presOf" srcId="{0299C2E1-10F2-43D4-AA5B-3D85823A98BD}" destId="{718169AB-0FD1-4908-A801-75DAA5C50842}" srcOrd="0" destOrd="0" presId="urn:microsoft.com/office/officeart/2008/layout/LinedList"/>
    <dgm:cxn modelId="{8900F03A-4C55-460D-BF48-74C7247A2AE6}" type="presOf" srcId="{6418CCE0-65CB-4C07-8FB6-9C89AFC80B28}" destId="{93E06218-B209-4928-855A-F13352CA9344}" srcOrd="0" destOrd="0" presId="urn:microsoft.com/office/officeart/2008/layout/LinedList"/>
    <dgm:cxn modelId="{4807685F-6DC9-4CC2-89C5-2E3D4C360B52}" type="presOf" srcId="{C954C706-EF65-4D31-95CF-CD5B031D1E08}" destId="{8F71F20C-BE1E-4F90-8BA3-1D0212A56127}" srcOrd="0" destOrd="0" presId="urn:microsoft.com/office/officeart/2008/layout/LinedList"/>
    <dgm:cxn modelId="{A29BD444-620B-4DD1-A161-DCEB328CE922}" type="presOf" srcId="{797FB601-B782-44B1-A92D-996E13FE5CA4}" destId="{6603E52E-95DF-4439-8402-9F613481FFD1}" srcOrd="0" destOrd="0" presId="urn:microsoft.com/office/officeart/2008/layout/LinedList"/>
    <dgm:cxn modelId="{07104E69-0D3D-4E9A-99E1-8DE3C12FEE38}" type="presOf" srcId="{54315DF9-02F4-4FCF-9544-24B9576EFF96}" destId="{DEA036F4-4D9B-48B9-89B7-B2658DE4CE4D}" srcOrd="0" destOrd="0" presId="urn:microsoft.com/office/officeart/2008/layout/LinedList"/>
    <dgm:cxn modelId="{B67C8549-594E-4128-8DBD-350AB8C24D1C}" srcId="{3A0EB6F6-AE92-42DD-8E49-61F17792D04B}" destId="{797FB601-B782-44B1-A92D-996E13FE5CA4}" srcOrd="0" destOrd="0" parTransId="{DDDB8D55-25C4-4A0D-8EE9-F0F2542B5935}" sibTransId="{029B3BE8-D1F6-4527-BDC0-7D941DA1F9E6}"/>
    <dgm:cxn modelId="{499CCF72-C74E-4939-A8F1-F4EA2C838945}" type="presOf" srcId="{9CB84A9D-1AB5-4310-A832-F56B5C578002}" destId="{804086FF-BD4C-4D02-8E28-77121C82CF2C}" srcOrd="0" destOrd="0" presId="urn:microsoft.com/office/officeart/2008/layout/LinedList"/>
    <dgm:cxn modelId="{CDE53A54-5688-43B8-AED3-7043DED01610}" srcId="{84310D60-E56E-4CC7-8CB4-8175E1BCD8B7}" destId="{C954C706-EF65-4D31-95CF-CD5B031D1E08}" srcOrd="2" destOrd="0" parTransId="{A3210A32-9BE9-446B-AFCB-AE6694A4646D}" sibTransId="{4F76BB95-C126-4D77-8E2F-704B9629D217}"/>
    <dgm:cxn modelId="{41D40A7C-5292-418B-9652-772D2CB9C9EA}" type="presOf" srcId="{2B0B5CE9-2CEA-47CD-B469-52BC2AB2EB53}" destId="{43C21E66-6FF5-4198-9ADD-4AB69424E49F}" srcOrd="0" destOrd="0" presId="urn:microsoft.com/office/officeart/2008/layout/LinedList"/>
    <dgm:cxn modelId="{B6635081-09C8-483F-8772-2A98023DA512}" srcId="{AFB4F636-FAE5-47E0-8649-1F1B02EC2990}" destId="{9CB84A9D-1AB5-4310-A832-F56B5C578002}" srcOrd="0" destOrd="0" parTransId="{13B9365F-348A-4DE5-8DD9-BB65017ADA5A}" sibTransId="{CD63C3EB-9DDE-43E5-94A6-DBF6FA848196}"/>
    <dgm:cxn modelId="{6CAC0B91-B62B-48D9-9973-AC7FB88870DF}" srcId="{84310D60-E56E-4CC7-8CB4-8175E1BCD8B7}" destId="{31E4E801-8CB3-4500-B938-B22CCD3556F9}" srcOrd="0" destOrd="0" parTransId="{0BCB138E-24D8-49BD-96DD-8AB14A833C2E}" sibTransId="{DBB13854-6975-492C-9B9E-6968C7A7E1FC}"/>
    <dgm:cxn modelId="{B2983B95-8EFF-424E-8B55-F6A213F9E747}" srcId="{C954C706-EF65-4D31-95CF-CD5B031D1E08}" destId="{54315DF9-02F4-4FCF-9544-24B9576EFF96}" srcOrd="0" destOrd="0" parTransId="{2A1BA7A0-D318-4118-A939-6C9A4C348AC8}" sibTransId="{CC7085F7-E9F3-4B1B-8303-832FE342D3C9}"/>
    <dgm:cxn modelId="{2EF5DAA2-F4DA-4264-BEC4-13A1041893A2}" srcId="{42A8D2FB-7134-47B2-9617-DD6FCAEDEDBE}" destId="{3A0EB6F6-AE92-42DD-8E49-61F17792D04B}" srcOrd="0" destOrd="0" parTransId="{5571AF25-6156-461D-A80B-13007890F28A}" sibTransId="{6E9A69A0-B57A-497A-AB7A-07492C4799E4}"/>
    <dgm:cxn modelId="{C2B155A4-0B89-4D94-BDA3-B607D3ECB099}" type="presOf" srcId="{31E4E801-8CB3-4500-B938-B22CCD3556F9}" destId="{CDDBED3E-D6B3-45EA-901F-E062F2534651}" srcOrd="0" destOrd="0" presId="urn:microsoft.com/office/officeart/2008/layout/LinedList"/>
    <dgm:cxn modelId="{560E41AB-83AD-415D-B982-8D11C6BD385C}" type="presOf" srcId="{45FB32F1-C127-4A45-8E8D-A2DE920E446E}" destId="{8639A28C-AD7A-46A6-89CC-FD629542D662}" srcOrd="0" destOrd="0" presId="urn:microsoft.com/office/officeart/2008/layout/LinedList"/>
    <dgm:cxn modelId="{BF0B0DB2-3DE3-4613-8847-FF258B458740}" type="presOf" srcId="{84310D60-E56E-4CC7-8CB4-8175E1BCD8B7}" destId="{F30BFB1F-71CD-451D-A167-6C09F4E98357}" srcOrd="0" destOrd="0" presId="urn:microsoft.com/office/officeart/2008/layout/LinedList"/>
    <dgm:cxn modelId="{17DEB1C4-81BA-4788-A97B-5F3863788407}" srcId="{84310D60-E56E-4CC7-8CB4-8175E1BCD8B7}" destId="{42A8D2FB-7134-47B2-9617-DD6FCAEDEDBE}" srcOrd="3" destOrd="0" parTransId="{C496D48C-0166-457E-8BC7-6E72DA107791}" sibTransId="{16E66D29-731B-4511-98C1-609F76F1395A}"/>
    <dgm:cxn modelId="{2911CAC4-6B29-4F47-A90D-5B8CDCD77F9B}" srcId="{31E4E801-8CB3-4500-B938-B22CCD3556F9}" destId="{70149C24-14E0-41E5-A23D-80F7DDAC6986}" srcOrd="0" destOrd="0" parTransId="{759CE61A-032A-4AF0-B200-7716DF065215}" sibTransId="{55540974-890B-44A8-8EC9-53E56AFB4D02}"/>
    <dgm:cxn modelId="{FF8AD0E2-CA6E-40B5-852E-B735B7468490}" srcId="{70149C24-14E0-41E5-A23D-80F7DDAC6986}" destId="{0299C2E1-10F2-43D4-AA5B-3D85823A98BD}" srcOrd="0" destOrd="0" parTransId="{C8CD1A4C-5752-414D-9912-C4862D606F93}" sibTransId="{A7A57152-59DB-44AC-95F3-D44967205FBA}"/>
    <dgm:cxn modelId="{81DCD0E4-5470-461C-A341-80771DB1BA30}" srcId="{84310D60-E56E-4CC7-8CB4-8175E1BCD8B7}" destId="{2B0B5CE9-2CEA-47CD-B469-52BC2AB2EB53}" srcOrd="1" destOrd="0" parTransId="{F8E8A62A-D9CA-4972-8C11-A0BCB0060C82}" sibTransId="{95C9D0DC-57CE-4AA7-9773-411461D0F7A8}"/>
    <dgm:cxn modelId="{FDF7B9E5-078D-44B7-B45B-7317F8B76684}" type="presOf" srcId="{70149C24-14E0-41E5-A23D-80F7DDAC6986}" destId="{84C58614-7037-4AC5-B328-187E7C300F94}" srcOrd="0" destOrd="0" presId="urn:microsoft.com/office/officeart/2008/layout/LinedList"/>
    <dgm:cxn modelId="{DF1835ED-B322-45E1-AED6-11711514B993}" type="presOf" srcId="{AFB4F636-FAE5-47E0-8649-1F1B02EC2990}" destId="{E51757D3-76CF-4A64-A04D-A1C08C7A6F2A}" srcOrd="0" destOrd="0" presId="urn:microsoft.com/office/officeart/2008/layout/LinedList"/>
    <dgm:cxn modelId="{2FE63CF5-4D86-4D21-B93F-E1FC29D3886A}" type="presParOf" srcId="{F30BFB1F-71CD-451D-A167-6C09F4E98357}" destId="{8758DBA2-343B-4FAF-B2D0-839CCAD8BC56}" srcOrd="0" destOrd="0" presId="urn:microsoft.com/office/officeart/2008/layout/LinedList"/>
    <dgm:cxn modelId="{730B0F61-9166-4AE1-8770-454EB51D1975}" type="presParOf" srcId="{F30BFB1F-71CD-451D-A167-6C09F4E98357}" destId="{8F0D5ABA-487F-4BE2-80D7-C7537CF36CE5}" srcOrd="1" destOrd="0" presId="urn:microsoft.com/office/officeart/2008/layout/LinedList"/>
    <dgm:cxn modelId="{0499BED8-814C-4413-A14D-ABEA201A370E}" type="presParOf" srcId="{8F0D5ABA-487F-4BE2-80D7-C7537CF36CE5}" destId="{CDDBED3E-D6B3-45EA-901F-E062F2534651}" srcOrd="0" destOrd="0" presId="urn:microsoft.com/office/officeart/2008/layout/LinedList"/>
    <dgm:cxn modelId="{500B823B-6165-4041-8B70-6A3B80C7EB53}" type="presParOf" srcId="{8F0D5ABA-487F-4BE2-80D7-C7537CF36CE5}" destId="{AB84DCEF-F532-475D-BF20-D9EAD0CDE35F}" srcOrd="1" destOrd="0" presId="urn:microsoft.com/office/officeart/2008/layout/LinedList"/>
    <dgm:cxn modelId="{56B35B38-EF15-434C-BD0D-DF5AC677E8A0}" type="presParOf" srcId="{AB84DCEF-F532-475D-BF20-D9EAD0CDE35F}" destId="{40BE354B-05DB-4845-8278-5EECF4C4A7A7}" srcOrd="0" destOrd="0" presId="urn:microsoft.com/office/officeart/2008/layout/LinedList"/>
    <dgm:cxn modelId="{E9DBA1E9-209A-4746-A5DD-5FD6A79C42A7}" type="presParOf" srcId="{AB84DCEF-F532-475D-BF20-D9EAD0CDE35F}" destId="{28532809-9687-4CC7-A6F1-7EB3E265888A}" srcOrd="1" destOrd="0" presId="urn:microsoft.com/office/officeart/2008/layout/LinedList"/>
    <dgm:cxn modelId="{4C691787-9660-4006-A29E-EC761348FAC3}" type="presParOf" srcId="{28532809-9687-4CC7-A6F1-7EB3E265888A}" destId="{9DDA9327-1C36-40F0-B9F8-5C0691CAC8E6}" srcOrd="0" destOrd="0" presId="urn:microsoft.com/office/officeart/2008/layout/LinedList"/>
    <dgm:cxn modelId="{CEF6C784-B4F3-4153-B421-D739E2628B7D}" type="presParOf" srcId="{28532809-9687-4CC7-A6F1-7EB3E265888A}" destId="{84C58614-7037-4AC5-B328-187E7C300F94}" srcOrd="1" destOrd="0" presId="urn:microsoft.com/office/officeart/2008/layout/LinedList"/>
    <dgm:cxn modelId="{41D206A6-A776-4F69-8E09-468C54A29CAD}" type="presParOf" srcId="{28532809-9687-4CC7-A6F1-7EB3E265888A}" destId="{3519C762-22B9-452E-9D63-B08AEE711931}" srcOrd="2" destOrd="0" presId="urn:microsoft.com/office/officeart/2008/layout/LinedList"/>
    <dgm:cxn modelId="{524BFE21-E415-4FCD-B188-AD9DA79E89D1}" type="presParOf" srcId="{3519C762-22B9-452E-9D63-B08AEE711931}" destId="{EFCDBE41-9A7E-4C3A-9411-113C467EBDF6}" srcOrd="0" destOrd="0" presId="urn:microsoft.com/office/officeart/2008/layout/LinedList"/>
    <dgm:cxn modelId="{13FD0189-A094-438B-A9C7-A43419418AEF}" type="presParOf" srcId="{EFCDBE41-9A7E-4C3A-9411-113C467EBDF6}" destId="{F692DB52-83FA-4D34-A29D-E85A38465034}" srcOrd="0" destOrd="0" presId="urn:microsoft.com/office/officeart/2008/layout/LinedList"/>
    <dgm:cxn modelId="{50A41675-9DD4-4173-BBBE-DAD90ED37D2D}" type="presParOf" srcId="{EFCDBE41-9A7E-4C3A-9411-113C467EBDF6}" destId="{718169AB-0FD1-4908-A801-75DAA5C50842}" srcOrd="1" destOrd="0" presId="urn:microsoft.com/office/officeart/2008/layout/LinedList"/>
    <dgm:cxn modelId="{096CA472-D662-4F0C-9EA5-99B815DFED88}" type="presParOf" srcId="{EFCDBE41-9A7E-4C3A-9411-113C467EBDF6}" destId="{90D38AD2-7420-4B18-B445-6EE2BAA932F7}" srcOrd="2" destOrd="0" presId="urn:microsoft.com/office/officeart/2008/layout/LinedList"/>
    <dgm:cxn modelId="{1FB63F40-373E-43EA-8D69-AF9C9A6E5CCE}" type="presParOf" srcId="{AB84DCEF-F532-475D-BF20-D9EAD0CDE35F}" destId="{07AA2E4B-2FC5-4F2F-B6BB-647F130CE34C}" srcOrd="2" destOrd="0" presId="urn:microsoft.com/office/officeart/2008/layout/LinedList"/>
    <dgm:cxn modelId="{22E197B6-14E9-4846-8C8D-7AE4D954B9AF}" type="presParOf" srcId="{AB84DCEF-F532-475D-BF20-D9EAD0CDE35F}" destId="{05AAC90C-08A3-4966-A704-5C5CFDC3A7F9}" srcOrd="3" destOrd="0" presId="urn:microsoft.com/office/officeart/2008/layout/LinedList"/>
    <dgm:cxn modelId="{B2A955C4-01CC-4B83-BB98-1D9C42F087FB}" type="presParOf" srcId="{F30BFB1F-71CD-451D-A167-6C09F4E98357}" destId="{2C1DF126-C412-4199-9639-D1560F90BD19}" srcOrd="2" destOrd="0" presId="urn:microsoft.com/office/officeart/2008/layout/LinedList"/>
    <dgm:cxn modelId="{12911F86-073E-4683-9B4B-5BF5C7A46540}" type="presParOf" srcId="{F30BFB1F-71CD-451D-A167-6C09F4E98357}" destId="{FCA80EE3-E758-4B88-9F1E-D78C8EC2EDDF}" srcOrd="3" destOrd="0" presId="urn:microsoft.com/office/officeart/2008/layout/LinedList"/>
    <dgm:cxn modelId="{8C904D4F-7DF4-4E05-A17E-98CA6D887CCD}" type="presParOf" srcId="{FCA80EE3-E758-4B88-9F1E-D78C8EC2EDDF}" destId="{43C21E66-6FF5-4198-9ADD-4AB69424E49F}" srcOrd="0" destOrd="0" presId="urn:microsoft.com/office/officeart/2008/layout/LinedList"/>
    <dgm:cxn modelId="{5863BF12-B226-4510-9905-03996C026AAD}" type="presParOf" srcId="{FCA80EE3-E758-4B88-9F1E-D78C8EC2EDDF}" destId="{B33A23C0-0B1C-4FA4-AA38-EAE38F72359A}" srcOrd="1" destOrd="0" presId="urn:microsoft.com/office/officeart/2008/layout/LinedList"/>
    <dgm:cxn modelId="{D1D86030-98EC-47A2-826B-D21A90AA643C}" type="presParOf" srcId="{B33A23C0-0B1C-4FA4-AA38-EAE38F72359A}" destId="{B242F500-48F3-4209-A9A8-8AECAF2FBDA7}" srcOrd="0" destOrd="0" presId="urn:microsoft.com/office/officeart/2008/layout/LinedList"/>
    <dgm:cxn modelId="{DD000432-4B00-437E-80E8-703DFD3D6B13}" type="presParOf" srcId="{B33A23C0-0B1C-4FA4-AA38-EAE38F72359A}" destId="{CD04513C-4A78-4BD7-9B35-C05A37B91468}" srcOrd="1" destOrd="0" presId="urn:microsoft.com/office/officeart/2008/layout/LinedList"/>
    <dgm:cxn modelId="{4A16CEDB-C6D6-4577-A73E-CF6D48EBF073}" type="presParOf" srcId="{CD04513C-4A78-4BD7-9B35-C05A37B91468}" destId="{7F93D033-9764-4484-8131-0F367E2E681B}" srcOrd="0" destOrd="0" presId="urn:microsoft.com/office/officeart/2008/layout/LinedList"/>
    <dgm:cxn modelId="{53B1AB46-53D9-41B4-B190-33EE9983E82E}" type="presParOf" srcId="{CD04513C-4A78-4BD7-9B35-C05A37B91468}" destId="{E51757D3-76CF-4A64-A04D-A1C08C7A6F2A}" srcOrd="1" destOrd="0" presId="urn:microsoft.com/office/officeart/2008/layout/LinedList"/>
    <dgm:cxn modelId="{68B44505-B19C-4DF5-9DBD-8CFA8C0C6858}" type="presParOf" srcId="{CD04513C-4A78-4BD7-9B35-C05A37B91468}" destId="{58A57834-A45F-4C2E-BA93-714501039B4F}" srcOrd="2" destOrd="0" presId="urn:microsoft.com/office/officeart/2008/layout/LinedList"/>
    <dgm:cxn modelId="{F1EDD376-4A33-4EF2-B66C-FCABCA506D3D}" type="presParOf" srcId="{58A57834-A45F-4C2E-BA93-714501039B4F}" destId="{07AEF852-CB80-4512-9597-BEFEEAA94BE4}" srcOrd="0" destOrd="0" presId="urn:microsoft.com/office/officeart/2008/layout/LinedList"/>
    <dgm:cxn modelId="{20F0C11F-98A7-45F5-BC67-2B5271E6FD3A}" type="presParOf" srcId="{07AEF852-CB80-4512-9597-BEFEEAA94BE4}" destId="{9F5BB500-3282-4DA2-9DEF-3C91828DAC17}" srcOrd="0" destOrd="0" presId="urn:microsoft.com/office/officeart/2008/layout/LinedList"/>
    <dgm:cxn modelId="{46408EA3-72C0-4FC1-A641-E5CC662D004C}" type="presParOf" srcId="{07AEF852-CB80-4512-9597-BEFEEAA94BE4}" destId="{804086FF-BD4C-4D02-8E28-77121C82CF2C}" srcOrd="1" destOrd="0" presId="urn:microsoft.com/office/officeart/2008/layout/LinedList"/>
    <dgm:cxn modelId="{8FB0E88C-A062-4992-8DE9-CA768A314FFB}" type="presParOf" srcId="{07AEF852-CB80-4512-9597-BEFEEAA94BE4}" destId="{35B9FDE8-2699-4135-97A6-B0BEF0BB476B}" srcOrd="2" destOrd="0" presId="urn:microsoft.com/office/officeart/2008/layout/LinedList"/>
    <dgm:cxn modelId="{57D6C4D9-DE7C-4F0A-BC61-B9335BA7B89A}" type="presParOf" srcId="{58A57834-A45F-4C2E-BA93-714501039B4F}" destId="{59A70CAF-EF7B-4101-AD20-FA66B28EF028}" srcOrd="1" destOrd="0" presId="urn:microsoft.com/office/officeart/2008/layout/LinedList"/>
    <dgm:cxn modelId="{FED0F97E-D1EB-46E3-AB7C-B2170152FFEF}" type="presParOf" srcId="{58A57834-A45F-4C2E-BA93-714501039B4F}" destId="{300A68D8-5267-4360-B8BA-C77EEA39AF3F}" srcOrd="2" destOrd="0" presId="urn:microsoft.com/office/officeart/2008/layout/LinedList"/>
    <dgm:cxn modelId="{65A17765-5282-41AF-BFD6-F5347F022F29}" type="presParOf" srcId="{300A68D8-5267-4360-B8BA-C77EEA39AF3F}" destId="{D7DEF4B7-4431-49A7-BF58-5D7AE8465AE6}" srcOrd="0" destOrd="0" presId="urn:microsoft.com/office/officeart/2008/layout/LinedList"/>
    <dgm:cxn modelId="{9885C234-A46D-472F-8E4E-485BBF121F84}" type="presParOf" srcId="{300A68D8-5267-4360-B8BA-C77EEA39AF3F}" destId="{8639A28C-AD7A-46A6-89CC-FD629542D662}" srcOrd="1" destOrd="0" presId="urn:microsoft.com/office/officeart/2008/layout/LinedList"/>
    <dgm:cxn modelId="{A099DA38-07C3-421A-BA8D-D26066C7074A}" type="presParOf" srcId="{300A68D8-5267-4360-B8BA-C77EEA39AF3F}" destId="{28761063-BB1E-48A8-9839-DAB35BA629C5}" srcOrd="2" destOrd="0" presId="urn:microsoft.com/office/officeart/2008/layout/LinedList"/>
    <dgm:cxn modelId="{91254DAD-2780-49E8-A05C-D563C97CA171}" type="presParOf" srcId="{B33A23C0-0B1C-4FA4-AA38-EAE38F72359A}" destId="{1E6A02EF-3187-423A-BEB2-AF7CD908F185}" srcOrd="2" destOrd="0" presId="urn:microsoft.com/office/officeart/2008/layout/LinedList"/>
    <dgm:cxn modelId="{13CC88FD-6D27-4D79-9622-C028E4F91E33}" type="presParOf" srcId="{B33A23C0-0B1C-4FA4-AA38-EAE38F72359A}" destId="{8B83C0E6-DD3B-465A-BCB7-92E484F4C3D0}" srcOrd="3" destOrd="0" presId="urn:microsoft.com/office/officeart/2008/layout/LinedList"/>
    <dgm:cxn modelId="{3EC2F729-405E-433C-B8CA-DF5EB3BE9C6C}" type="presParOf" srcId="{F30BFB1F-71CD-451D-A167-6C09F4E98357}" destId="{0C8B9503-63C0-4520-BC14-DDEC3B4D072B}" srcOrd="4" destOrd="0" presId="urn:microsoft.com/office/officeart/2008/layout/LinedList"/>
    <dgm:cxn modelId="{CD8EF6E0-83AE-43DF-B1D5-25FEE634FE95}" type="presParOf" srcId="{F30BFB1F-71CD-451D-A167-6C09F4E98357}" destId="{67B9CEBE-C840-4698-BE80-A50A6138235D}" srcOrd="5" destOrd="0" presId="urn:microsoft.com/office/officeart/2008/layout/LinedList"/>
    <dgm:cxn modelId="{21DDCEDE-E31D-4F66-8DC0-97DA45B09D81}" type="presParOf" srcId="{67B9CEBE-C840-4698-BE80-A50A6138235D}" destId="{8F71F20C-BE1E-4F90-8BA3-1D0212A56127}" srcOrd="0" destOrd="0" presId="urn:microsoft.com/office/officeart/2008/layout/LinedList"/>
    <dgm:cxn modelId="{A6AD09BF-9651-453B-8E5D-A2A5D21F1AC0}" type="presParOf" srcId="{67B9CEBE-C840-4698-BE80-A50A6138235D}" destId="{170F9447-52A6-49A8-8C7E-791DDB250B29}" srcOrd="1" destOrd="0" presId="urn:microsoft.com/office/officeart/2008/layout/LinedList"/>
    <dgm:cxn modelId="{542F4132-E974-479B-95BF-EE7E32C48D9D}" type="presParOf" srcId="{170F9447-52A6-49A8-8C7E-791DDB250B29}" destId="{77CB27D8-D8EB-4B48-B6C3-4330F1ACE4B9}" srcOrd="0" destOrd="0" presId="urn:microsoft.com/office/officeart/2008/layout/LinedList"/>
    <dgm:cxn modelId="{8DDD20BC-6F7B-41AC-8453-BDD8F2493877}" type="presParOf" srcId="{170F9447-52A6-49A8-8C7E-791DDB250B29}" destId="{3290A2B1-375A-45F7-ADB0-9215DF2BDC25}" srcOrd="1" destOrd="0" presId="urn:microsoft.com/office/officeart/2008/layout/LinedList"/>
    <dgm:cxn modelId="{4F0D0C3D-5873-4A7B-A2CC-43DD6BA49C4E}" type="presParOf" srcId="{3290A2B1-375A-45F7-ADB0-9215DF2BDC25}" destId="{6244D28D-806D-4DBF-9E95-234779416465}" srcOrd="0" destOrd="0" presId="urn:microsoft.com/office/officeart/2008/layout/LinedList"/>
    <dgm:cxn modelId="{45EB3F7D-D0C2-46E2-916F-CC02F9288886}" type="presParOf" srcId="{3290A2B1-375A-45F7-ADB0-9215DF2BDC25}" destId="{DEA036F4-4D9B-48B9-89B7-B2658DE4CE4D}" srcOrd="1" destOrd="0" presId="urn:microsoft.com/office/officeart/2008/layout/LinedList"/>
    <dgm:cxn modelId="{2BFBD913-5C97-4C3E-BBD4-1D5E6634CCBE}" type="presParOf" srcId="{3290A2B1-375A-45F7-ADB0-9215DF2BDC25}" destId="{614438A7-5A3B-408C-B796-F1A0D39F3776}" srcOrd="2" destOrd="0" presId="urn:microsoft.com/office/officeart/2008/layout/LinedList"/>
    <dgm:cxn modelId="{719388CD-8161-48DA-BA4A-1948C1E34465}" type="presParOf" srcId="{614438A7-5A3B-408C-B796-F1A0D39F3776}" destId="{52999005-AC72-476B-B122-25995837F9CA}" srcOrd="0" destOrd="0" presId="urn:microsoft.com/office/officeart/2008/layout/LinedList"/>
    <dgm:cxn modelId="{17C6FF4C-9EF0-4B05-95C4-A81477D81824}" type="presParOf" srcId="{52999005-AC72-476B-B122-25995837F9CA}" destId="{227CEB18-DE89-4D65-BBE7-624946906277}" srcOrd="0" destOrd="0" presId="urn:microsoft.com/office/officeart/2008/layout/LinedList"/>
    <dgm:cxn modelId="{3126C022-BD37-4217-AF67-C24E045B7CEA}" type="presParOf" srcId="{52999005-AC72-476B-B122-25995837F9CA}" destId="{93E06218-B209-4928-855A-F13352CA9344}" srcOrd="1" destOrd="0" presId="urn:microsoft.com/office/officeart/2008/layout/LinedList"/>
    <dgm:cxn modelId="{21E4AA64-1AE4-4467-B30A-517C52AA2115}" type="presParOf" srcId="{52999005-AC72-476B-B122-25995837F9CA}" destId="{B9D62C5F-CD2C-4278-A844-40372A1AF29A}" srcOrd="2" destOrd="0" presId="urn:microsoft.com/office/officeart/2008/layout/LinedList"/>
    <dgm:cxn modelId="{8C602F06-114D-4226-8629-5DDC0A295A5C}" type="presParOf" srcId="{170F9447-52A6-49A8-8C7E-791DDB250B29}" destId="{BA360986-FE0F-4517-9E13-58CEBD9D77C1}" srcOrd="2" destOrd="0" presId="urn:microsoft.com/office/officeart/2008/layout/LinedList"/>
    <dgm:cxn modelId="{EA4C8198-EE50-46B7-AFBE-F1669696645D}" type="presParOf" srcId="{170F9447-52A6-49A8-8C7E-791DDB250B29}" destId="{6D15EB8E-26E2-4BF3-B1D8-3A8AEA9DE4C2}" srcOrd="3" destOrd="0" presId="urn:microsoft.com/office/officeart/2008/layout/LinedList"/>
    <dgm:cxn modelId="{5A63CBEA-10B2-40B0-8485-284688DF7AAE}" type="presParOf" srcId="{F30BFB1F-71CD-451D-A167-6C09F4E98357}" destId="{7D20B13A-EF89-4C0B-A462-AB01F7D03BFF}" srcOrd="6" destOrd="0" presId="urn:microsoft.com/office/officeart/2008/layout/LinedList"/>
    <dgm:cxn modelId="{8BDDB943-C8FA-4337-98AE-ECF69A22CC98}" type="presParOf" srcId="{F30BFB1F-71CD-451D-A167-6C09F4E98357}" destId="{7B8939D5-64F8-4D0C-A995-C0C9BAB24065}" srcOrd="7" destOrd="0" presId="urn:microsoft.com/office/officeart/2008/layout/LinedList"/>
    <dgm:cxn modelId="{9656BBA6-528D-401F-AA19-EE3FCFD3844D}" type="presParOf" srcId="{7B8939D5-64F8-4D0C-A995-C0C9BAB24065}" destId="{C36752E2-C357-4B45-A29C-F8EC1FD199E0}" srcOrd="0" destOrd="0" presId="urn:microsoft.com/office/officeart/2008/layout/LinedList"/>
    <dgm:cxn modelId="{892A68D8-5652-4F43-B4A2-C50F1E77AFF8}" type="presParOf" srcId="{7B8939D5-64F8-4D0C-A995-C0C9BAB24065}" destId="{C00C1696-DCF0-4074-AB74-0C4E48EDADE1}" srcOrd="1" destOrd="0" presId="urn:microsoft.com/office/officeart/2008/layout/LinedList"/>
    <dgm:cxn modelId="{18A8076A-B9F8-4E9E-8146-A1912DB13EE7}" type="presParOf" srcId="{C00C1696-DCF0-4074-AB74-0C4E48EDADE1}" destId="{D040586D-9D2C-43D2-AB44-2A3E6FF166C5}" srcOrd="0" destOrd="0" presId="urn:microsoft.com/office/officeart/2008/layout/LinedList"/>
    <dgm:cxn modelId="{7C055CD2-06F4-41DC-831C-E554FD91466A}" type="presParOf" srcId="{C00C1696-DCF0-4074-AB74-0C4E48EDADE1}" destId="{81A6655D-33EB-499B-A38A-3352E980CB49}" srcOrd="1" destOrd="0" presId="urn:microsoft.com/office/officeart/2008/layout/LinedList"/>
    <dgm:cxn modelId="{CCD4A946-7615-4EAB-91C1-599E111B4019}" type="presParOf" srcId="{81A6655D-33EB-499B-A38A-3352E980CB49}" destId="{F08827B7-34A5-4496-94C2-37E3B41F3C89}" srcOrd="0" destOrd="0" presId="urn:microsoft.com/office/officeart/2008/layout/LinedList"/>
    <dgm:cxn modelId="{2B9F1993-5268-4F54-9F6D-1943D1C5B835}" type="presParOf" srcId="{81A6655D-33EB-499B-A38A-3352E980CB49}" destId="{31AA0E48-E629-4A1F-84E4-86935EF341D2}" srcOrd="1" destOrd="0" presId="urn:microsoft.com/office/officeart/2008/layout/LinedList"/>
    <dgm:cxn modelId="{4988F313-4DE5-4E07-BF04-C4D3D715A140}" type="presParOf" srcId="{81A6655D-33EB-499B-A38A-3352E980CB49}" destId="{E9155F74-AFAA-4FCE-B6AC-481610170A45}" srcOrd="2" destOrd="0" presId="urn:microsoft.com/office/officeart/2008/layout/LinedList"/>
    <dgm:cxn modelId="{F9E8F9E0-2FEE-4451-B469-797C845336CD}" type="presParOf" srcId="{E9155F74-AFAA-4FCE-B6AC-481610170A45}" destId="{6B742A5F-600B-43AF-B950-4AC98EF03266}" srcOrd="0" destOrd="0" presId="urn:microsoft.com/office/officeart/2008/layout/LinedList"/>
    <dgm:cxn modelId="{FA276041-6F8E-48F6-9DCD-713766BF7A06}" type="presParOf" srcId="{6B742A5F-600B-43AF-B950-4AC98EF03266}" destId="{CA6814BE-8508-4020-B13D-277AB1A13C67}" srcOrd="0" destOrd="0" presId="urn:microsoft.com/office/officeart/2008/layout/LinedList"/>
    <dgm:cxn modelId="{D4ECDEA7-FA24-4A1E-ABC4-5926003F1D4B}" type="presParOf" srcId="{6B742A5F-600B-43AF-B950-4AC98EF03266}" destId="{6603E52E-95DF-4439-8402-9F613481FFD1}" srcOrd="1" destOrd="0" presId="urn:microsoft.com/office/officeart/2008/layout/LinedList"/>
    <dgm:cxn modelId="{5059ADB6-1D5C-4BA1-A73C-4448C2464358}" type="presParOf" srcId="{6B742A5F-600B-43AF-B950-4AC98EF03266}" destId="{9551CBD5-58A5-4056-90A2-071DBCD81D37}" srcOrd="2" destOrd="0" presId="urn:microsoft.com/office/officeart/2008/layout/LinedList"/>
    <dgm:cxn modelId="{057D4B71-9A01-43D7-A0D9-06E288281447}" type="presParOf" srcId="{C00C1696-DCF0-4074-AB74-0C4E48EDADE1}" destId="{8D42EAA7-8431-4D03-9079-635095B5A99E}" srcOrd="2" destOrd="0" presId="urn:microsoft.com/office/officeart/2008/layout/LinedList"/>
    <dgm:cxn modelId="{60C9D0AE-8387-424A-BB42-24C832579BC7}" type="presParOf" srcId="{C00C1696-DCF0-4074-AB74-0C4E48EDADE1}" destId="{61CE85FB-6E5B-49C9-87D6-A40ACAC99009}" srcOrd="3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58DBA2-343B-4FAF-B2D0-839CCAD8BC56}">
      <dsp:nvSpPr>
        <dsp:cNvPr id="0" name=""/>
        <dsp:cNvSpPr/>
      </dsp:nvSpPr>
      <dsp:spPr>
        <a:xfrm>
          <a:off x="0" y="0"/>
          <a:ext cx="61541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DBED3E-D6B3-45EA-901F-E062F2534651}">
      <dsp:nvSpPr>
        <dsp:cNvPr id="0" name=""/>
        <dsp:cNvSpPr/>
      </dsp:nvSpPr>
      <dsp:spPr>
        <a:xfrm>
          <a:off x="0" y="0"/>
          <a:ext cx="1230827" cy="954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210" tIns="156210" rIns="156210" bIns="156210" numCol="1" spcCol="1270" anchor="t" anchorCtr="0">
          <a:noAutofit/>
        </a:bodyPr>
        <a:lstStyle/>
        <a:p>
          <a:pPr marL="0" lvl="0" indent="0" algn="l" defTabSz="1822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100" kern="1200" dirty="0">
              <a:latin typeface="+mn-lt"/>
            </a:rPr>
            <a:t>1.</a:t>
          </a:r>
          <a:endParaRPr lang="en-GB" sz="4100" b="0" kern="1200" dirty="0">
            <a:latin typeface="+mn-lt"/>
          </a:endParaRPr>
        </a:p>
      </dsp:txBody>
      <dsp:txXfrm>
        <a:off x="0" y="0"/>
        <a:ext cx="1230827" cy="954404"/>
      </dsp:txXfrm>
    </dsp:sp>
    <dsp:sp modelId="{84C58614-7037-4AC5-B328-187E7C300F94}">
      <dsp:nvSpPr>
        <dsp:cNvPr id="0" name=""/>
        <dsp:cNvSpPr/>
      </dsp:nvSpPr>
      <dsp:spPr>
        <a:xfrm>
          <a:off x="1323139" y="43339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nb-NO" sz="22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Integrasjon i forretningsprosess</a:t>
          </a:r>
          <a:endParaRPr kumimoji="0" lang="en-GB" sz="2200" b="1" i="0" u="none" strike="noStrike" kern="1200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+mn-lt"/>
            <a:ea typeface="p22-mackinac-pro" pitchFamily="34" charset="-122"/>
            <a:cs typeface="p22-mackinac-pro" pitchFamily="34" charset="-120"/>
          </a:endParaRPr>
        </a:p>
      </dsp:txBody>
      <dsp:txXfrm>
        <a:off x="1323139" y="43339"/>
        <a:ext cx="2369343" cy="866793"/>
      </dsp:txXfrm>
    </dsp:sp>
    <dsp:sp modelId="{718169AB-0FD1-4908-A801-75DAA5C50842}">
      <dsp:nvSpPr>
        <dsp:cNvPr id="0" name=""/>
        <dsp:cNvSpPr/>
      </dsp:nvSpPr>
      <dsp:spPr>
        <a:xfrm>
          <a:off x="3784795" y="43339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en-US" sz="1300" kern="1200" dirty="0" err="1">
              <a:solidFill>
                <a:srgbClr val="272525"/>
              </a:solidFill>
              <a:latin typeface="+mn-lt"/>
              <a:ea typeface="Eudoxus Sans" pitchFamily="34" charset="-122"/>
            </a:rPr>
            <a:t>Forretningsregler</a:t>
          </a:r>
          <a:r>
            <a:rPr lang="en-US" sz="1300" kern="1200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sz="1300" kern="1200" dirty="0" err="1">
              <a:solidFill>
                <a:srgbClr val="272525"/>
              </a:solidFill>
              <a:latin typeface="+mn-lt"/>
              <a:ea typeface="Eudoxus Sans" pitchFamily="34" charset="-122"/>
            </a:rPr>
            <a:t>datastrukturer</a:t>
          </a:r>
          <a:r>
            <a:rPr lang="en-US" sz="1300" kern="1200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sz="1300" kern="1200" dirty="0" err="1">
              <a:solidFill>
                <a:srgbClr val="272525"/>
              </a:solidFill>
              <a:latin typeface="+mn-lt"/>
              <a:ea typeface="Eudoxus Sans" pitchFamily="34" charset="-122"/>
            </a:rPr>
            <a:t>tilgangsrettigheter</a:t>
          </a:r>
          <a:r>
            <a:rPr lang="en-US" sz="1300" kern="1200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sz="1300" kern="1200" dirty="0" err="1">
              <a:solidFill>
                <a:srgbClr val="272525"/>
              </a:solidFill>
              <a:latin typeface="+mn-lt"/>
              <a:ea typeface="Eudoxus Sans" pitchFamily="34" charset="-122"/>
            </a:rPr>
            <a:t>integrasjoner</a:t>
          </a:r>
          <a:r>
            <a:rPr lang="en-US" sz="1300" kern="1200" dirty="0">
              <a:solidFill>
                <a:srgbClr val="272525"/>
              </a:solidFill>
              <a:latin typeface="+mn-lt"/>
              <a:ea typeface="Eudoxus Sans" pitchFamily="34" charset="-122"/>
            </a:rPr>
            <a:t> …</a:t>
          </a:r>
          <a:endParaRPr lang="en-GB" sz="1300" kern="1200" dirty="0">
            <a:latin typeface="+mn-lt"/>
          </a:endParaRPr>
        </a:p>
      </dsp:txBody>
      <dsp:txXfrm>
        <a:off x="3784795" y="43339"/>
        <a:ext cx="2369343" cy="866793"/>
      </dsp:txXfrm>
    </dsp:sp>
    <dsp:sp modelId="{07AA2E4B-2FC5-4F2F-B6BB-647F130CE34C}">
      <dsp:nvSpPr>
        <dsp:cNvPr id="0" name=""/>
        <dsp:cNvSpPr/>
      </dsp:nvSpPr>
      <dsp:spPr>
        <a:xfrm>
          <a:off x="1230827" y="910133"/>
          <a:ext cx="492331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C1DF126-C412-4199-9639-D1560F90BD19}">
      <dsp:nvSpPr>
        <dsp:cNvPr id="0" name=""/>
        <dsp:cNvSpPr/>
      </dsp:nvSpPr>
      <dsp:spPr>
        <a:xfrm>
          <a:off x="0" y="954404"/>
          <a:ext cx="61541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C21E66-6FF5-4198-9ADD-4AB69424E49F}">
      <dsp:nvSpPr>
        <dsp:cNvPr id="0" name=""/>
        <dsp:cNvSpPr/>
      </dsp:nvSpPr>
      <dsp:spPr>
        <a:xfrm>
          <a:off x="0" y="954404"/>
          <a:ext cx="1230827" cy="954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210" tIns="156210" rIns="156210" bIns="156210" numCol="1" spcCol="1270" anchor="t" anchorCtr="0">
          <a:noAutofit/>
        </a:bodyPr>
        <a:lstStyle/>
        <a:p>
          <a:pPr marL="0" lvl="0" indent="0" algn="l" defTabSz="1822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100" kern="1200" dirty="0">
              <a:latin typeface="+mn-lt"/>
            </a:rPr>
            <a:t>2.</a:t>
          </a:r>
        </a:p>
      </dsp:txBody>
      <dsp:txXfrm>
        <a:off x="0" y="954404"/>
        <a:ext cx="1230827" cy="954404"/>
      </dsp:txXfrm>
    </dsp:sp>
    <dsp:sp modelId="{E51757D3-76CF-4A64-A04D-A1C08C7A6F2A}">
      <dsp:nvSpPr>
        <dsp:cNvPr id="0" name=""/>
        <dsp:cNvSpPr/>
      </dsp:nvSpPr>
      <dsp:spPr>
        <a:xfrm>
          <a:off x="1323139" y="997744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nb-NO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Sikre en stabil brukeropplevelse</a:t>
          </a:r>
          <a:endParaRPr lang="nb-NO" sz="2000" kern="1200" noProof="0" dirty="0">
            <a:latin typeface="+mn-lt"/>
          </a:endParaRPr>
        </a:p>
      </dsp:txBody>
      <dsp:txXfrm>
        <a:off x="1323139" y="997744"/>
        <a:ext cx="2369343" cy="866793"/>
      </dsp:txXfrm>
    </dsp:sp>
    <dsp:sp modelId="{804086FF-BD4C-4D02-8E28-77121C82CF2C}">
      <dsp:nvSpPr>
        <dsp:cNvPr id="0" name=""/>
        <dsp:cNvSpPr/>
      </dsp:nvSpPr>
      <dsp:spPr>
        <a:xfrm>
          <a:off x="3784795" y="997744"/>
          <a:ext cx="2369343" cy="4333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nb-NO" sz="12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Tusenvis av brukere med ulik bakgrunn og kunnskap</a:t>
          </a:r>
          <a:endParaRPr lang="en-GB" sz="1200" kern="1200" dirty="0">
            <a:latin typeface="+mn-lt"/>
          </a:endParaRPr>
        </a:p>
      </dsp:txBody>
      <dsp:txXfrm>
        <a:off x="3784795" y="997744"/>
        <a:ext cx="2369343" cy="433396"/>
      </dsp:txXfrm>
    </dsp:sp>
    <dsp:sp modelId="{59A70CAF-EF7B-4101-AD20-FA66B28EF028}">
      <dsp:nvSpPr>
        <dsp:cNvPr id="0" name=""/>
        <dsp:cNvSpPr/>
      </dsp:nvSpPr>
      <dsp:spPr>
        <a:xfrm>
          <a:off x="3692483" y="1431141"/>
          <a:ext cx="236934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39A28C-AD7A-46A6-89CC-FD629542D662}">
      <dsp:nvSpPr>
        <dsp:cNvPr id="0" name=""/>
        <dsp:cNvSpPr/>
      </dsp:nvSpPr>
      <dsp:spPr>
        <a:xfrm>
          <a:off x="3784795" y="1431141"/>
          <a:ext cx="2369343" cy="4333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en-GB" sz="1200" kern="1200" dirty="0" err="1">
              <a:latin typeface="+mn-lt"/>
            </a:rPr>
            <a:t>Begrenset</a:t>
          </a:r>
          <a:r>
            <a:rPr lang="en-GB" sz="1200" kern="1200" dirty="0">
              <a:latin typeface="+mn-lt"/>
            </a:rPr>
            <a:t> </a:t>
          </a:r>
          <a:r>
            <a:rPr lang="en-GB" sz="1200" kern="1200" dirty="0" err="1">
              <a:latin typeface="+mn-lt"/>
            </a:rPr>
            <a:t>kontroll</a:t>
          </a:r>
          <a:r>
            <a:rPr lang="en-GB" sz="1200" kern="1200" dirty="0">
              <a:latin typeface="+mn-lt"/>
            </a:rPr>
            <a:t> </a:t>
          </a:r>
          <a:r>
            <a:rPr lang="en-GB" sz="1200" kern="1200" dirty="0" err="1">
              <a:latin typeface="+mn-lt"/>
            </a:rPr>
            <a:t>på</a:t>
          </a:r>
          <a:r>
            <a:rPr lang="en-GB" sz="1200" kern="1200" dirty="0">
              <a:latin typeface="+mn-lt"/>
            </a:rPr>
            <a:t> LLM modeller</a:t>
          </a:r>
        </a:p>
      </dsp:txBody>
      <dsp:txXfrm>
        <a:off x="3784795" y="1431141"/>
        <a:ext cx="2369343" cy="433396"/>
      </dsp:txXfrm>
    </dsp:sp>
    <dsp:sp modelId="{1E6A02EF-3187-423A-BEB2-AF7CD908F185}">
      <dsp:nvSpPr>
        <dsp:cNvPr id="0" name=""/>
        <dsp:cNvSpPr/>
      </dsp:nvSpPr>
      <dsp:spPr>
        <a:xfrm>
          <a:off x="1230827" y="1864537"/>
          <a:ext cx="492331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8B9503-63C0-4520-BC14-DDEC3B4D072B}">
      <dsp:nvSpPr>
        <dsp:cNvPr id="0" name=""/>
        <dsp:cNvSpPr/>
      </dsp:nvSpPr>
      <dsp:spPr>
        <a:xfrm>
          <a:off x="0" y="1908809"/>
          <a:ext cx="61541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71F20C-BE1E-4F90-8BA3-1D0212A56127}">
      <dsp:nvSpPr>
        <dsp:cNvPr id="0" name=""/>
        <dsp:cNvSpPr/>
      </dsp:nvSpPr>
      <dsp:spPr>
        <a:xfrm>
          <a:off x="0" y="1908809"/>
          <a:ext cx="1230827" cy="954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210" tIns="156210" rIns="156210" bIns="156210" numCol="1" spcCol="1270" anchor="t" anchorCtr="0">
          <a:noAutofit/>
        </a:bodyPr>
        <a:lstStyle/>
        <a:p>
          <a:pPr marL="0" lvl="0" indent="0" algn="l" defTabSz="1822450">
            <a:lnSpc>
              <a:spcPct val="10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en-US" sz="41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3.</a:t>
          </a:r>
          <a:endParaRPr lang="en-GB" sz="4100" kern="1200" dirty="0">
            <a:latin typeface="+mn-lt"/>
          </a:endParaRPr>
        </a:p>
      </dsp:txBody>
      <dsp:txXfrm>
        <a:off x="0" y="1908809"/>
        <a:ext cx="1230827" cy="954404"/>
      </dsp:txXfrm>
    </dsp:sp>
    <dsp:sp modelId="{DEA036F4-4D9B-48B9-89B7-B2658DE4CE4D}">
      <dsp:nvSpPr>
        <dsp:cNvPr id="0" name=""/>
        <dsp:cNvSpPr/>
      </dsp:nvSpPr>
      <dsp:spPr>
        <a:xfrm>
          <a:off x="1323139" y="1952149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nde-</a:t>
          </a: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til</a:t>
          </a: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-</a:t>
          </a: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nde-automatisering</a:t>
          </a:r>
          <a:endParaRPr kumimoji="0" lang="en-GB" sz="2000" b="1" i="0" u="none" strike="noStrike" kern="1200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Calibri" panose="020F0502020204030204"/>
            <a:ea typeface="p22-mackinac-pro" pitchFamily="34" charset="-122"/>
            <a:cs typeface="p22-mackinac-pro" pitchFamily="34" charset="-120"/>
          </a:endParaRPr>
        </a:p>
      </dsp:txBody>
      <dsp:txXfrm>
        <a:off x="1323139" y="1952149"/>
        <a:ext cx="2369343" cy="866793"/>
      </dsp:txXfrm>
    </dsp:sp>
    <dsp:sp modelId="{93E06218-B209-4928-855A-F13352CA9344}">
      <dsp:nvSpPr>
        <dsp:cNvPr id="0" name=""/>
        <dsp:cNvSpPr/>
      </dsp:nvSpPr>
      <dsp:spPr>
        <a:xfrm>
          <a:off x="3784795" y="1952149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"</a:t>
          </a: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out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of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the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box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" løsninger uten kompliserte </a:t>
          </a: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implementerigs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- prosjekter</a:t>
          </a:r>
          <a:endParaRPr lang="en-GB" sz="1300" kern="1200" dirty="0">
            <a:latin typeface="+mn-lt"/>
          </a:endParaRPr>
        </a:p>
      </dsp:txBody>
      <dsp:txXfrm>
        <a:off x="3784795" y="1952149"/>
        <a:ext cx="2369343" cy="866793"/>
      </dsp:txXfrm>
    </dsp:sp>
    <dsp:sp modelId="{BA360986-FE0F-4517-9E13-58CEBD9D77C1}">
      <dsp:nvSpPr>
        <dsp:cNvPr id="0" name=""/>
        <dsp:cNvSpPr/>
      </dsp:nvSpPr>
      <dsp:spPr>
        <a:xfrm>
          <a:off x="1230827" y="2818942"/>
          <a:ext cx="492331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20B13A-EF89-4C0B-A462-AB01F7D03BFF}">
      <dsp:nvSpPr>
        <dsp:cNvPr id="0" name=""/>
        <dsp:cNvSpPr/>
      </dsp:nvSpPr>
      <dsp:spPr>
        <a:xfrm>
          <a:off x="0" y="2863214"/>
          <a:ext cx="61541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36752E2-C357-4B45-A29C-F8EC1FD199E0}">
      <dsp:nvSpPr>
        <dsp:cNvPr id="0" name=""/>
        <dsp:cNvSpPr/>
      </dsp:nvSpPr>
      <dsp:spPr>
        <a:xfrm>
          <a:off x="0" y="2863214"/>
          <a:ext cx="1230827" cy="954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210" tIns="156210" rIns="156210" bIns="156210" numCol="1" spcCol="1270" anchor="t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en-GB" sz="4100" kern="1200" dirty="0">
              <a:latin typeface="+mn-lt"/>
            </a:rPr>
            <a:t>4.</a:t>
          </a:r>
        </a:p>
      </dsp:txBody>
      <dsp:txXfrm>
        <a:off x="0" y="2863214"/>
        <a:ext cx="1230827" cy="954404"/>
      </dsp:txXfrm>
    </dsp:sp>
    <dsp:sp modelId="{31AA0E48-E629-4A1F-84E4-86935EF341D2}">
      <dsp:nvSpPr>
        <dsp:cNvPr id="0" name=""/>
        <dsp:cNvSpPr/>
      </dsp:nvSpPr>
      <dsp:spPr>
        <a:xfrm>
          <a:off x="1323139" y="2906553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ffektiv</a:t>
          </a: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 </a:t>
          </a:r>
          <a:b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</a:b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AI-Governance</a:t>
          </a:r>
          <a:endParaRPr lang="en-GB" sz="2000" kern="1200" dirty="0">
            <a:latin typeface="+mn-lt"/>
          </a:endParaRPr>
        </a:p>
      </dsp:txBody>
      <dsp:txXfrm>
        <a:off x="1323139" y="2906553"/>
        <a:ext cx="2369343" cy="866793"/>
      </dsp:txXfrm>
    </dsp:sp>
    <dsp:sp modelId="{6603E52E-95DF-4439-8402-9F613481FFD1}">
      <dsp:nvSpPr>
        <dsp:cNvPr id="0" name=""/>
        <dsp:cNvSpPr/>
      </dsp:nvSpPr>
      <dsp:spPr>
        <a:xfrm>
          <a:off x="3784795" y="2906553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Governance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prosess som holder tritt med fart og omfang av konsept innovasjon</a:t>
          </a:r>
          <a:endParaRPr kumimoji="0" lang="en-GB" sz="1300" b="0" i="0" u="none" strike="noStrike" kern="1200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+mn-lt"/>
            <a:ea typeface="Eudoxus Sans" pitchFamily="34" charset="-122"/>
            <a:cs typeface="Eudoxus Sans" pitchFamily="34" charset="-120"/>
          </a:endParaRPr>
        </a:p>
      </dsp:txBody>
      <dsp:txXfrm>
        <a:off x="3784795" y="2906553"/>
        <a:ext cx="2369343" cy="866793"/>
      </dsp:txXfrm>
    </dsp:sp>
    <dsp:sp modelId="{8D42EAA7-8431-4D03-9079-635095B5A99E}">
      <dsp:nvSpPr>
        <dsp:cNvPr id="0" name=""/>
        <dsp:cNvSpPr/>
      </dsp:nvSpPr>
      <dsp:spPr>
        <a:xfrm>
          <a:off x="1230827" y="3773347"/>
          <a:ext cx="492331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58DBA2-343B-4FAF-B2D0-839CCAD8BC56}">
      <dsp:nvSpPr>
        <dsp:cNvPr id="0" name=""/>
        <dsp:cNvSpPr/>
      </dsp:nvSpPr>
      <dsp:spPr>
        <a:xfrm>
          <a:off x="0" y="0"/>
          <a:ext cx="61541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DBED3E-D6B3-45EA-901F-E062F2534651}">
      <dsp:nvSpPr>
        <dsp:cNvPr id="0" name=""/>
        <dsp:cNvSpPr/>
      </dsp:nvSpPr>
      <dsp:spPr>
        <a:xfrm>
          <a:off x="0" y="0"/>
          <a:ext cx="1230827" cy="954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210" tIns="156210" rIns="156210" bIns="156210" numCol="1" spcCol="1270" anchor="t" anchorCtr="0">
          <a:noAutofit/>
        </a:bodyPr>
        <a:lstStyle/>
        <a:p>
          <a:pPr marL="0" lvl="0" indent="0" algn="l" defTabSz="1822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100" kern="1200" dirty="0">
              <a:latin typeface="+mn-lt"/>
            </a:rPr>
            <a:t>1.</a:t>
          </a:r>
          <a:endParaRPr lang="en-GB" sz="4100" b="0" kern="1200" dirty="0">
            <a:latin typeface="+mn-lt"/>
          </a:endParaRPr>
        </a:p>
      </dsp:txBody>
      <dsp:txXfrm>
        <a:off x="0" y="0"/>
        <a:ext cx="1230827" cy="954404"/>
      </dsp:txXfrm>
    </dsp:sp>
    <dsp:sp modelId="{84C58614-7037-4AC5-B328-187E7C300F94}">
      <dsp:nvSpPr>
        <dsp:cNvPr id="0" name=""/>
        <dsp:cNvSpPr/>
      </dsp:nvSpPr>
      <dsp:spPr>
        <a:xfrm>
          <a:off x="1323139" y="43339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nb-NO" sz="22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Integrasjon i forretningsprosess</a:t>
          </a:r>
          <a:endParaRPr kumimoji="0" lang="en-GB" sz="2200" b="1" i="0" u="none" strike="noStrike" kern="1200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+mn-lt"/>
            <a:ea typeface="p22-mackinac-pro" pitchFamily="34" charset="-122"/>
            <a:cs typeface="p22-mackinac-pro" pitchFamily="34" charset="-120"/>
          </a:endParaRPr>
        </a:p>
      </dsp:txBody>
      <dsp:txXfrm>
        <a:off x="1323139" y="43339"/>
        <a:ext cx="2369343" cy="866793"/>
      </dsp:txXfrm>
    </dsp:sp>
    <dsp:sp modelId="{718169AB-0FD1-4908-A801-75DAA5C50842}">
      <dsp:nvSpPr>
        <dsp:cNvPr id="0" name=""/>
        <dsp:cNvSpPr/>
      </dsp:nvSpPr>
      <dsp:spPr>
        <a:xfrm>
          <a:off x="3784795" y="43339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en-US" sz="1300" kern="1200" dirty="0" err="1">
              <a:solidFill>
                <a:srgbClr val="272525"/>
              </a:solidFill>
              <a:latin typeface="+mn-lt"/>
              <a:ea typeface="Eudoxus Sans" pitchFamily="34" charset="-122"/>
            </a:rPr>
            <a:t>Forretningsregler</a:t>
          </a:r>
          <a:r>
            <a:rPr lang="en-US" sz="1300" kern="1200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sz="1300" kern="1200" dirty="0" err="1">
              <a:solidFill>
                <a:srgbClr val="272525"/>
              </a:solidFill>
              <a:latin typeface="+mn-lt"/>
              <a:ea typeface="Eudoxus Sans" pitchFamily="34" charset="-122"/>
            </a:rPr>
            <a:t>datastrukturer</a:t>
          </a:r>
          <a:r>
            <a:rPr lang="en-US" sz="1300" kern="1200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sz="1300" kern="1200" dirty="0" err="1">
              <a:solidFill>
                <a:srgbClr val="272525"/>
              </a:solidFill>
              <a:latin typeface="+mn-lt"/>
              <a:ea typeface="Eudoxus Sans" pitchFamily="34" charset="-122"/>
            </a:rPr>
            <a:t>tilgangsrettigheter</a:t>
          </a:r>
          <a:r>
            <a:rPr lang="en-US" sz="1300" kern="1200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sz="1300" kern="1200" dirty="0" err="1">
              <a:solidFill>
                <a:srgbClr val="272525"/>
              </a:solidFill>
              <a:latin typeface="+mn-lt"/>
              <a:ea typeface="Eudoxus Sans" pitchFamily="34" charset="-122"/>
            </a:rPr>
            <a:t>integrasjoner</a:t>
          </a:r>
          <a:r>
            <a:rPr lang="en-US" sz="1300" kern="1200" dirty="0">
              <a:solidFill>
                <a:srgbClr val="272525"/>
              </a:solidFill>
              <a:latin typeface="+mn-lt"/>
              <a:ea typeface="Eudoxus Sans" pitchFamily="34" charset="-122"/>
            </a:rPr>
            <a:t> …</a:t>
          </a:r>
          <a:endParaRPr lang="en-GB" sz="1300" kern="1200" dirty="0">
            <a:latin typeface="+mn-lt"/>
          </a:endParaRPr>
        </a:p>
      </dsp:txBody>
      <dsp:txXfrm>
        <a:off x="3784795" y="43339"/>
        <a:ext cx="2369343" cy="866793"/>
      </dsp:txXfrm>
    </dsp:sp>
    <dsp:sp modelId="{07AA2E4B-2FC5-4F2F-B6BB-647F130CE34C}">
      <dsp:nvSpPr>
        <dsp:cNvPr id="0" name=""/>
        <dsp:cNvSpPr/>
      </dsp:nvSpPr>
      <dsp:spPr>
        <a:xfrm>
          <a:off x="1230827" y="910133"/>
          <a:ext cx="492331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C1DF126-C412-4199-9639-D1560F90BD19}">
      <dsp:nvSpPr>
        <dsp:cNvPr id="0" name=""/>
        <dsp:cNvSpPr/>
      </dsp:nvSpPr>
      <dsp:spPr>
        <a:xfrm>
          <a:off x="0" y="954404"/>
          <a:ext cx="61541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C21E66-6FF5-4198-9ADD-4AB69424E49F}">
      <dsp:nvSpPr>
        <dsp:cNvPr id="0" name=""/>
        <dsp:cNvSpPr/>
      </dsp:nvSpPr>
      <dsp:spPr>
        <a:xfrm>
          <a:off x="0" y="954404"/>
          <a:ext cx="1230827" cy="954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210" tIns="156210" rIns="156210" bIns="156210" numCol="1" spcCol="1270" anchor="t" anchorCtr="0">
          <a:noAutofit/>
        </a:bodyPr>
        <a:lstStyle/>
        <a:p>
          <a:pPr marL="0" lvl="0" indent="0" algn="l" defTabSz="1822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100" kern="1200" dirty="0">
              <a:latin typeface="+mn-lt"/>
            </a:rPr>
            <a:t>2.</a:t>
          </a:r>
        </a:p>
      </dsp:txBody>
      <dsp:txXfrm>
        <a:off x="0" y="954404"/>
        <a:ext cx="1230827" cy="954404"/>
      </dsp:txXfrm>
    </dsp:sp>
    <dsp:sp modelId="{E51757D3-76CF-4A64-A04D-A1C08C7A6F2A}">
      <dsp:nvSpPr>
        <dsp:cNvPr id="0" name=""/>
        <dsp:cNvSpPr/>
      </dsp:nvSpPr>
      <dsp:spPr>
        <a:xfrm>
          <a:off x="1323139" y="997744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nb-NO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Sikre en stabil brukeropplevelse</a:t>
          </a:r>
          <a:endParaRPr lang="nb-NO" sz="2000" kern="1200" noProof="0" dirty="0">
            <a:latin typeface="+mn-lt"/>
          </a:endParaRPr>
        </a:p>
      </dsp:txBody>
      <dsp:txXfrm>
        <a:off x="1323139" y="997744"/>
        <a:ext cx="2369343" cy="866793"/>
      </dsp:txXfrm>
    </dsp:sp>
    <dsp:sp modelId="{804086FF-BD4C-4D02-8E28-77121C82CF2C}">
      <dsp:nvSpPr>
        <dsp:cNvPr id="0" name=""/>
        <dsp:cNvSpPr/>
      </dsp:nvSpPr>
      <dsp:spPr>
        <a:xfrm>
          <a:off x="3784795" y="997744"/>
          <a:ext cx="2369343" cy="4333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nb-NO" sz="12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Tusenvis av brukere med ulik bakgrunn og kunnskap</a:t>
          </a:r>
          <a:endParaRPr lang="en-GB" sz="1200" kern="1200" dirty="0">
            <a:latin typeface="+mn-lt"/>
          </a:endParaRPr>
        </a:p>
      </dsp:txBody>
      <dsp:txXfrm>
        <a:off x="3784795" y="997744"/>
        <a:ext cx="2369343" cy="433396"/>
      </dsp:txXfrm>
    </dsp:sp>
    <dsp:sp modelId="{59A70CAF-EF7B-4101-AD20-FA66B28EF028}">
      <dsp:nvSpPr>
        <dsp:cNvPr id="0" name=""/>
        <dsp:cNvSpPr/>
      </dsp:nvSpPr>
      <dsp:spPr>
        <a:xfrm>
          <a:off x="3692483" y="1431141"/>
          <a:ext cx="236934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39A28C-AD7A-46A6-89CC-FD629542D662}">
      <dsp:nvSpPr>
        <dsp:cNvPr id="0" name=""/>
        <dsp:cNvSpPr/>
      </dsp:nvSpPr>
      <dsp:spPr>
        <a:xfrm>
          <a:off x="3784795" y="1431141"/>
          <a:ext cx="2369343" cy="4333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en-GB" sz="1200" kern="1200" dirty="0" err="1">
              <a:latin typeface="+mn-lt"/>
            </a:rPr>
            <a:t>Begrenset</a:t>
          </a:r>
          <a:r>
            <a:rPr lang="en-GB" sz="1200" kern="1200" dirty="0">
              <a:latin typeface="+mn-lt"/>
            </a:rPr>
            <a:t> </a:t>
          </a:r>
          <a:r>
            <a:rPr lang="en-GB" sz="1200" kern="1200" dirty="0" err="1">
              <a:latin typeface="+mn-lt"/>
            </a:rPr>
            <a:t>kontroll</a:t>
          </a:r>
          <a:r>
            <a:rPr lang="en-GB" sz="1200" kern="1200" dirty="0">
              <a:latin typeface="+mn-lt"/>
            </a:rPr>
            <a:t> </a:t>
          </a:r>
          <a:r>
            <a:rPr lang="en-GB" sz="1200" kern="1200" dirty="0" err="1">
              <a:latin typeface="+mn-lt"/>
            </a:rPr>
            <a:t>på</a:t>
          </a:r>
          <a:r>
            <a:rPr lang="en-GB" sz="1200" kern="1200" dirty="0">
              <a:latin typeface="+mn-lt"/>
            </a:rPr>
            <a:t> LLM modeller</a:t>
          </a:r>
        </a:p>
      </dsp:txBody>
      <dsp:txXfrm>
        <a:off x="3784795" y="1431141"/>
        <a:ext cx="2369343" cy="433396"/>
      </dsp:txXfrm>
    </dsp:sp>
    <dsp:sp modelId="{1E6A02EF-3187-423A-BEB2-AF7CD908F185}">
      <dsp:nvSpPr>
        <dsp:cNvPr id="0" name=""/>
        <dsp:cNvSpPr/>
      </dsp:nvSpPr>
      <dsp:spPr>
        <a:xfrm>
          <a:off x="1230827" y="1864537"/>
          <a:ext cx="492331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8B9503-63C0-4520-BC14-DDEC3B4D072B}">
      <dsp:nvSpPr>
        <dsp:cNvPr id="0" name=""/>
        <dsp:cNvSpPr/>
      </dsp:nvSpPr>
      <dsp:spPr>
        <a:xfrm>
          <a:off x="0" y="1908809"/>
          <a:ext cx="61541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71F20C-BE1E-4F90-8BA3-1D0212A56127}">
      <dsp:nvSpPr>
        <dsp:cNvPr id="0" name=""/>
        <dsp:cNvSpPr/>
      </dsp:nvSpPr>
      <dsp:spPr>
        <a:xfrm>
          <a:off x="0" y="1908809"/>
          <a:ext cx="1230827" cy="954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210" tIns="156210" rIns="156210" bIns="156210" numCol="1" spcCol="1270" anchor="t" anchorCtr="0">
          <a:noAutofit/>
        </a:bodyPr>
        <a:lstStyle/>
        <a:p>
          <a:pPr marL="0" lvl="0" indent="0" algn="l" defTabSz="1822450">
            <a:lnSpc>
              <a:spcPct val="10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en-US" sz="41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3.</a:t>
          </a:r>
          <a:endParaRPr lang="en-GB" sz="4100" kern="1200" dirty="0">
            <a:latin typeface="+mn-lt"/>
          </a:endParaRPr>
        </a:p>
      </dsp:txBody>
      <dsp:txXfrm>
        <a:off x="0" y="1908809"/>
        <a:ext cx="1230827" cy="954404"/>
      </dsp:txXfrm>
    </dsp:sp>
    <dsp:sp modelId="{DEA036F4-4D9B-48B9-89B7-B2658DE4CE4D}">
      <dsp:nvSpPr>
        <dsp:cNvPr id="0" name=""/>
        <dsp:cNvSpPr/>
      </dsp:nvSpPr>
      <dsp:spPr>
        <a:xfrm>
          <a:off x="1323139" y="1952149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nde-</a:t>
          </a: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til</a:t>
          </a: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-</a:t>
          </a: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nde-automatisering</a:t>
          </a:r>
          <a:endParaRPr kumimoji="0" lang="en-GB" sz="2000" b="1" i="0" u="none" strike="noStrike" kern="1200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Calibri" panose="020F0502020204030204"/>
            <a:ea typeface="p22-mackinac-pro" pitchFamily="34" charset="-122"/>
            <a:cs typeface="p22-mackinac-pro" pitchFamily="34" charset="-120"/>
          </a:endParaRPr>
        </a:p>
      </dsp:txBody>
      <dsp:txXfrm>
        <a:off x="1323139" y="1952149"/>
        <a:ext cx="2369343" cy="866793"/>
      </dsp:txXfrm>
    </dsp:sp>
    <dsp:sp modelId="{93E06218-B209-4928-855A-F13352CA9344}">
      <dsp:nvSpPr>
        <dsp:cNvPr id="0" name=""/>
        <dsp:cNvSpPr/>
      </dsp:nvSpPr>
      <dsp:spPr>
        <a:xfrm>
          <a:off x="3784795" y="1952149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"</a:t>
          </a: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out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of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the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box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" løsninger uten kompliserte </a:t>
          </a: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implementerigs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- prosjekter</a:t>
          </a:r>
          <a:endParaRPr lang="en-GB" sz="1300" kern="1200" dirty="0">
            <a:latin typeface="+mn-lt"/>
          </a:endParaRPr>
        </a:p>
      </dsp:txBody>
      <dsp:txXfrm>
        <a:off x="3784795" y="1952149"/>
        <a:ext cx="2369343" cy="866793"/>
      </dsp:txXfrm>
    </dsp:sp>
    <dsp:sp modelId="{BA360986-FE0F-4517-9E13-58CEBD9D77C1}">
      <dsp:nvSpPr>
        <dsp:cNvPr id="0" name=""/>
        <dsp:cNvSpPr/>
      </dsp:nvSpPr>
      <dsp:spPr>
        <a:xfrm>
          <a:off x="1230827" y="2818942"/>
          <a:ext cx="492331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20B13A-EF89-4C0B-A462-AB01F7D03BFF}">
      <dsp:nvSpPr>
        <dsp:cNvPr id="0" name=""/>
        <dsp:cNvSpPr/>
      </dsp:nvSpPr>
      <dsp:spPr>
        <a:xfrm>
          <a:off x="0" y="2863214"/>
          <a:ext cx="61541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36752E2-C357-4B45-A29C-F8EC1FD199E0}">
      <dsp:nvSpPr>
        <dsp:cNvPr id="0" name=""/>
        <dsp:cNvSpPr/>
      </dsp:nvSpPr>
      <dsp:spPr>
        <a:xfrm>
          <a:off x="0" y="2863214"/>
          <a:ext cx="1230827" cy="954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210" tIns="156210" rIns="156210" bIns="156210" numCol="1" spcCol="1270" anchor="t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en-GB" sz="4100" kern="1200" dirty="0">
              <a:latin typeface="+mn-lt"/>
            </a:rPr>
            <a:t>4.</a:t>
          </a:r>
        </a:p>
      </dsp:txBody>
      <dsp:txXfrm>
        <a:off x="0" y="2863214"/>
        <a:ext cx="1230827" cy="954404"/>
      </dsp:txXfrm>
    </dsp:sp>
    <dsp:sp modelId="{31AA0E48-E629-4A1F-84E4-86935EF341D2}">
      <dsp:nvSpPr>
        <dsp:cNvPr id="0" name=""/>
        <dsp:cNvSpPr/>
      </dsp:nvSpPr>
      <dsp:spPr>
        <a:xfrm>
          <a:off x="1323139" y="2906553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ffektiv</a:t>
          </a: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 </a:t>
          </a:r>
          <a:b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</a:b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AI-Governance</a:t>
          </a:r>
          <a:endParaRPr lang="en-GB" sz="2000" kern="1200" dirty="0">
            <a:latin typeface="+mn-lt"/>
          </a:endParaRPr>
        </a:p>
      </dsp:txBody>
      <dsp:txXfrm>
        <a:off x="1323139" y="2906553"/>
        <a:ext cx="2369343" cy="866793"/>
      </dsp:txXfrm>
    </dsp:sp>
    <dsp:sp modelId="{6603E52E-95DF-4439-8402-9F613481FFD1}">
      <dsp:nvSpPr>
        <dsp:cNvPr id="0" name=""/>
        <dsp:cNvSpPr/>
      </dsp:nvSpPr>
      <dsp:spPr>
        <a:xfrm>
          <a:off x="3784795" y="2906553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Governance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prosess som holder tritt med fart og omfang av konsept innovasjon</a:t>
          </a:r>
          <a:endParaRPr kumimoji="0" lang="en-GB" sz="1300" b="0" i="0" u="none" strike="noStrike" kern="1200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+mn-lt"/>
            <a:ea typeface="Eudoxus Sans" pitchFamily="34" charset="-122"/>
            <a:cs typeface="Eudoxus Sans" pitchFamily="34" charset="-120"/>
          </a:endParaRPr>
        </a:p>
      </dsp:txBody>
      <dsp:txXfrm>
        <a:off x="3784795" y="2906553"/>
        <a:ext cx="2369343" cy="866793"/>
      </dsp:txXfrm>
    </dsp:sp>
    <dsp:sp modelId="{8D42EAA7-8431-4D03-9079-635095B5A99E}">
      <dsp:nvSpPr>
        <dsp:cNvPr id="0" name=""/>
        <dsp:cNvSpPr/>
      </dsp:nvSpPr>
      <dsp:spPr>
        <a:xfrm>
          <a:off x="1230827" y="3773347"/>
          <a:ext cx="492331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58DBA2-343B-4FAF-B2D0-839CCAD8BC56}">
      <dsp:nvSpPr>
        <dsp:cNvPr id="0" name=""/>
        <dsp:cNvSpPr/>
      </dsp:nvSpPr>
      <dsp:spPr>
        <a:xfrm>
          <a:off x="0" y="0"/>
          <a:ext cx="61541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DBED3E-D6B3-45EA-901F-E062F2534651}">
      <dsp:nvSpPr>
        <dsp:cNvPr id="0" name=""/>
        <dsp:cNvSpPr/>
      </dsp:nvSpPr>
      <dsp:spPr>
        <a:xfrm>
          <a:off x="0" y="0"/>
          <a:ext cx="1230827" cy="954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210" tIns="156210" rIns="156210" bIns="156210" numCol="1" spcCol="1270" anchor="t" anchorCtr="0">
          <a:noAutofit/>
        </a:bodyPr>
        <a:lstStyle/>
        <a:p>
          <a:pPr marL="0" lvl="0" indent="0" algn="l" defTabSz="1822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100" kern="1200" dirty="0">
              <a:latin typeface="+mn-lt"/>
            </a:rPr>
            <a:t>1.</a:t>
          </a:r>
          <a:endParaRPr lang="en-GB" sz="4100" b="0" kern="1200" dirty="0">
            <a:latin typeface="+mn-lt"/>
          </a:endParaRPr>
        </a:p>
      </dsp:txBody>
      <dsp:txXfrm>
        <a:off x="0" y="0"/>
        <a:ext cx="1230827" cy="954404"/>
      </dsp:txXfrm>
    </dsp:sp>
    <dsp:sp modelId="{84C58614-7037-4AC5-B328-187E7C300F94}">
      <dsp:nvSpPr>
        <dsp:cNvPr id="0" name=""/>
        <dsp:cNvSpPr/>
      </dsp:nvSpPr>
      <dsp:spPr>
        <a:xfrm>
          <a:off x="1323139" y="43339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nb-NO" sz="22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Integrasjon i forretningsprosess</a:t>
          </a:r>
          <a:endParaRPr kumimoji="0" lang="en-GB" sz="2200" b="1" i="0" u="none" strike="noStrike" kern="1200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+mn-lt"/>
            <a:ea typeface="p22-mackinac-pro" pitchFamily="34" charset="-122"/>
            <a:cs typeface="p22-mackinac-pro" pitchFamily="34" charset="-120"/>
          </a:endParaRPr>
        </a:p>
      </dsp:txBody>
      <dsp:txXfrm>
        <a:off x="1323139" y="43339"/>
        <a:ext cx="2369343" cy="866793"/>
      </dsp:txXfrm>
    </dsp:sp>
    <dsp:sp modelId="{718169AB-0FD1-4908-A801-75DAA5C50842}">
      <dsp:nvSpPr>
        <dsp:cNvPr id="0" name=""/>
        <dsp:cNvSpPr/>
      </dsp:nvSpPr>
      <dsp:spPr>
        <a:xfrm>
          <a:off x="3784795" y="43339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en-US" sz="1300" kern="1200" dirty="0" err="1">
              <a:solidFill>
                <a:srgbClr val="272525"/>
              </a:solidFill>
              <a:latin typeface="+mn-lt"/>
              <a:ea typeface="Eudoxus Sans" pitchFamily="34" charset="-122"/>
            </a:rPr>
            <a:t>Forretningsregler</a:t>
          </a:r>
          <a:r>
            <a:rPr lang="en-US" sz="1300" kern="1200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sz="1300" kern="1200" dirty="0" err="1">
              <a:solidFill>
                <a:srgbClr val="272525"/>
              </a:solidFill>
              <a:latin typeface="+mn-lt"/>
              <a:ea typeface="Eudoxus Sans" pitchFamily="34" charset="-122"/>
            </a:rPr>
            <a:t>datastrukturer</a:t>
          </a:r>
          <a:r>
            <a:rPr lang="en-US" sz="1300" kern="1200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sz="1300" kern="1200" dirty="0" err="1">
              <a:solidFill>
                <a:srgbClr val="272525"/>
              </a:solidFill>
              <a:latin typeface="+mn-lt"/>
              <a:ea typeface="Eudoxus Sans" pitchFamily="34" charset="-122"/>
            </a:rPr>
            <a:t>tilgangsrettigheter</a:t>
          </a:r>
          <a:r>
            <a:rPr lang="en-US" sz="1300" kern="1200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sz="1300" kern="1200" dirty="0" err="1">
              <a:solidFill>
                <a:srgbClr val="272525"/>
              </a:solidFill>
              <a:latin typeface="+mn-lt"/>
              <a:ea typeface="Eudoxus Sans" pitchFamily="34" charset="-122"/>
            </a:rPr>
            <a:t>integrasjoner</a:t>
          </a:r>
          <a:r>
            <a:rPr lang="en-US" sz="1300" kern="1200" dirty="0">
              <a:solidFill>
                <a:srgbClr val="272525"/>
              </a:solidFill>
              <a:latin typeface="+mn-lt"/>
              <a:ea typeface="Eudoxus Sans" pitchFamily="34" charset="-122"/>
            </a:rPr>
            <a:t> …</a:t>
          </a:r>
          <a:endParaRPr lang="en-GB" sz="1300" kern="1200" dirty="0">
            <a:latin typeface="+mn-lt"/>
          </a:endParaRPr>
        </a:p>
      </dsp:txBody>
      <dsp:txXfrm>
        <a:off x="3784795" y="43339"/>
        <a:ext cx="2369343" cy="866793"/>
      </dsp:txXfrm>
    </dsp:sp>
    <dsp:sp modelId="{07AA2E4B-2FC5-4F2F-B6BB-647F130CE34C}">
      <dsp:nvSpPr>
        <dsp:cNvPr id="0" name=""/>
        <dsp:cNvSpPr/>
      </dsp:nvSpPr>
      <dsp:spPr>
        <a:xfrm>
          <a:off x="1230827" y="910133"/>
          <a:ext cx="492331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C1DF126-C412-4199-9639-D1560F90BD19}">
      <dsp:nvSpPr>
        <dsp:cNvPr id="0" name=""/>
        <dsp:cNvSpPr/>
      </dsp:nvSpPr>
      <dsp:spPr>
        <a:xfrm>
          <a:off x="0" y="954404"/>
          <a:ext cx="61541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C21E66-6FF5-4198-9ADD-4AB69424E49F}">
      <dsp:nvSpPr>
        <dsp:cNvPr id="0" name=""/>
        <dsp:cNvSpPr/>
      </dsp:nvSpPr>
      <dsp:spPr>
        <a:xfrm>
          <a:off x="0" y="954404"/>
          <a:ext cx="1230827" cy="954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210" tIns="156210" rIns="156210" bIns="156210" numCol="1" spcCol="1270" anchor="t" anchorCtr="0">
          <a:noAutofit/>
        </a:bodyPr>
        <a:lstStyle/>
        <a:p>
          <a:pPr marL="0" lvl="0" indent="0" algn="l" defTabSz="1822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100" kern="1200" dirty="0">
              <a:latin typeface="+mn-lt"/>
            </a:rPr>
            <a:t>2.</a:t>
          </a:r>
        </a:p>
      </dsp:txBody>
      <dsp:txXfrm>
        <a:off x="0" y="954404"/>
        <a:ext cx="1230827" cy="954404"/>
      </dsp:txXfrm>
    </dsp:sp>
    <dsp:sp modelId="{E51757D3-76CF-4A64-A04D-A1C08C7A6F2A}">
      <dsp:nvSpPr>
        <dsp:cNvPr id="0" name=""/>
        <dsp:cNvSpPr/>
      </dsp:nvSpPr>
      <dsp:spPr>
        <a:xfrm>
          <a:off x="1323139" y="997744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nb-NO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Sikre en stabil brukeropplevelse</a:t>
          </a:r>
          <a:endParaRPr lang="nb-NO" sz="2000" kern="1200" noProof="0" dirty="0">
            <a:latin typeface="+mn-lt"/>
          </a:endParaRPr>
        </a:p>
      </dsp:txBody>
      <dsp:txXfrm>
        <a:off x="1323139" y="997744"/>
        <a:ext cx="2369343" cy="866793"/>
      </dsp:txXfrm>
    </dsp:sp>
    <dsp:sp modelId="{804086FF-BD4C-4D02-8E28-77121C82CF2C}">
      <dsp:nvSpPr>
        <dsp:cNvPr id="0" name=""/>
        <dsp:cNvSpPr/>
      </dsp:nvSpPr>
      <dsp:spPr>
        <a:xfrm>
          <a:off x="3784795" y="997744"/>
          <a:ext cx="2369343" cy="4333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nb-NO" sz="12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Tusenvis av brukere med ulik bakgrunn og kunnskap</a:t>
          </a:r>
          <a:endParaRPr lang="en-GB" sz="1200" kern="1200" dirty="0">
            <a:latin typeface="+mn-lt"/>
          </a:endParaRPr>
        </a:p>
      </dsp:txBody>
      <dsp:txXfrm>
        <a:off x="3784795" y="997744"/>
        <a:ext cx="2369343" cy="433396"/>
      </dsp:txXfrm>
    </dsp:sp>
    <dsp:sp modelId="{59A70CAF-EF7B-4101-AD20-FA66B28EF028}">
      <dsp:nvSpPr>
        <dsp:cNvPr id="0" name=""/>
        <dsp:cNvSpPr/>
      </dsp:nvSpPr>
      <dsp:spPr>
        <a:xfrm>
          <a:off x="3692483" y="1431141"/>
          <a:ext cx="236934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39A28C-AD7A-46A6-89CC-FD629542D662}">
      <dsp:nvSpPr>
        <dsp:cNvPr id="0" name=""/>
        <dsp:cNvSpPr/>
      </dsp:nvSpPr>
      <dsp:spPr>
        <a:xfrm>
          <a:off x="3784795" y="1431141"/>
          <a:ext cx="2369343" cy="4333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en-GB" sz="1200" kern="1200" dirty="0" err="1">
              <a:latin typeface="+mn-lt"/>
            </a:rPr>
            <a:t>Begrenset</a:t>
          </a:r>
          <a:r>
            <a:rPr lang="en-GB" sz="1200" kern="1200" dirty="0">
              <a:latin typeface="+mn-lt"/>
            </a:rPr>
            <a:t> </a:t>
          </a:r>
          <a:r>
            <a:rPr lang="en-GB" sz="1200" kern="1200" dirty="0" err="1">
              <a:latin typeface="+mn-lt"/>
            </a:rPr>
            <a:t>kontroll</a:t>
          </a:r>
          <a:r>
            <a:rPr lang="en-GB" sz="1200" kern="1200" dirty="0">
              <a:latin typeface="+mn-lt"/>
            </a:rPr>
            <a:t> </a:t>
          </a:r>
          <a:r>
            <a:rPr lang="en-GB" sz="1200" kern="1200" dirty="0" err="1">
              <a:latin typeface="+mn-lt"/>
            </a:rPr>
            <a:t>på</a:t>
          </a:r>
          <a:r>
            <a:rPr lang="en-GB" sz="1200" kern="1200" dirty="0">
              <a:latin typeface="+mn-lt"/>
            </a:rPr>
            <a:t> LLM modeller</a:t>
          </a:r>
        </a:p>
      </dsp:txBody>
      <dsp:txXfrm>
        <a:off x="3784795" y="1431141"/>
        <a:ext cx="2369343" cy="433396"/>
      </dsp:txXfrm>
    </dsp:sp>
    <dsp:sp modelId="{1E6A02EF-3187-423A-BEB2-AF7CD908F185}">
      <dsp:nvSpPr>
        <dsp:cNvPr id="0" name=""/>
        <dsp:cNvSpPr/>
      </dsp:nvSpPr>
      <dsp:spPr>
        <a:xfrm>
          <a:off x="1230827" y="1864537"/>
          <a:ext cx="492331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8B9503-63C0-4520-BC14-DDEC3B4D072B}">
      <dsp:nvSpPr>
        <dsp:cNvPr id="0" name=""/>
        <dsp:cNvSpPr/>
      </dsp:nvSpPr>
      <dsp:spPr>
        <a:xfrm>
          <a:off x="0" y="1908809"/>
          <a:ext cx="61541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71F20C-BE1E-4F90-8BA3-1D0212A56127}">
      <dsp:nvSpPr>
        <dsp:cNvPr id="0" name=""/>
        <dsp:cNvSpPr/>
      </dsp:nvSpPr>
      <dsp:spPr>
        <a:xfrm>
          <a:off x="0" y="1908809"/>
          <a:ext cx="1230827" cy="954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210" tIns="156210" rIns="156210" bIns="156210" numCol="1" spcCol="1270" anchor="t" anchorCtr="0">
          <a:noAutofit/>
        </a:bodyPr>
        <a:lstStyle/>
        <a:p>
          <a:pPr marL="0" lvl="0" indent="0" algn="l" defTabSz="1822450">
            <a:lnSpc>
              <a:spcPct val="10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en-US" sz="41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3.</a:t>
          </a:r>
          <a:endParaRPr lang="en-GB" sz="4100" kern="1200" dirty="0">
            <a:latin typeface="+mn-lt"/>
          </a:endParaRPr>
        </a:p>
      </dsp:txBody>
      <dsp:txXfrm>
        <a:off x="0" y="1908809"/>
        <a:ext cx="1230827" cy="954404"/>
      </dsp:txXfrm>
    </dsp:sp>
    <dsp:sp modelId="{DEA036F4-4D9B-48B9-89B7-B2658DE4CE4D}">
      <dsp:nvSpPr>
        <dsp:cNvPr id="0" name=""/>
        <dsp:cNvSpPr/>
      </dsp:nvSpPr>
      <dsp:spPr>
        <a:xfrm>
          <a:off x="1323139" y="1952149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nde-</a:t>
          </a: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til</a:t>
          </a: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-</a:t>
          </a: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nde-automatisering</a:t>
          </a:r>
          <a:endParaRPr kumimoji="0" lang="en-GB" sz="2000" b="1" i="0" u="none" strike="noStrike" kern="1200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Calibri" panose="020F0502020204030204"/>
            <a:ea typeface="p22-mackinac-pro" pitchFamily="34" charset="-122"/>
            <a:cs typeface="p22-mackinac-pro" pitchFamily="34" charset="-120"/>
          </a:endParaRPr>
        </a:p>
      </dsp:txBody>
      <dsp:txXfrm>
        <a:off x="1323139" y="1952149"/>
        <a:ext cx="2369343" cy="866793"/>
      </dsp:txXfrm>
    </dsp:sp>
    <dsp:sp modelId="{93E06218-B209-4928-855A-F13352CA9344}">
      <dsp:nvSpPr>
        <dsp:cNvPr id="0" name=""/>
        <dsp:cNvSpPr/>
      </dsp:nvSpPr>
      <dsp:spPr>
        <a:xfrm>
          <a:off x="3784795" y="1952149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"</a:t>
          </a: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out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of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the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box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" løsninger uten kompliserte implementerings- prosjekter</a:t>
          </a:r>
          <a:endParaRPr lang="en-GB" sz="1300" kern="1200" dirty="0">
            <a:latin typeface="+mn-lt"/>
          </a:endParaRPr>
        </a:p>
      </dsp:txBody>
      <dsp:txXfrm>
        <a:off x="3784795" y="1952149"/>
        <a:ext cx="2369343" cy="866793"/>
      </dsp:txXfrm>
    </dsp:sp>
    <dsp:sp modelId="{BA360986-FE0F-4517-9E13-58CEBD9D77C1}">
      <dsp:nvSpPr>
        <dsp:cNvPr id="0" name=""/>
        <dsp:cNvSpPr/>
      </dsp:nvSpPr>
      <dsp:spPr>
        <a:xfrm>
          <a:off x="1230827" y="2818942"/>
          <a:ext cx="492331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20B13A-EF89-4C0B-A462-AB01F7D03BFF}">
      <dsp:nvSpPr>
        <dsp:cNvPr id="0" name=""/>
        <dsp:cNvSpPr/>
      </dsp:nvSpPr>
      <dsp:spPr>
        <a:xfrm>
          <a:off x="0" y="2863214"/>
          <a:ext cx="61541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36752E2-C357-4B45-A29C-F8EC1FD199E0}">
      <dsp:nvSpPr>
        <dsp:cNvPr id="0" name=""/>
        <dsp:cNvSpPr/>
      </dsp:nvSpPr>
      <dsp:spPr>
        <a:xfrm>
          <a:off x="0" y="2863214"/>
          <a:ext cx="1230827" cy="954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210" tIns="156210" rIns="156210" bIns="156210" numCol="1" spcCol="1270" anchor="t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en-GB" sz="4100" kern="1200" dirty="0">
              <a:latin typeface="+mn-lt"/>
            </a:rPr>
            <a:t>4.</a:t>
          </a:r>
        </a:p>
      </dsp:txBody>
      <dsp:txXfrm>
        <a:off x="0" y="2863214"/>
        <a:ext cx="1230827" cy="954404"/>
      </dsp:txXfrm>
    </dsp:sp>
    <dsp:sp modelId="{31AA0E48-E629-4A1F-84E4-86935EF341D2}">
      <dsp:nvSpPr>
        <dsp:cNvPr id="0" name=""/>
        <dsp:cNvSpPr/>
      </dsp:nvSpPr>
      <dsp:spPr>
        <a:xfrm>
          <a:off x="1323139" y="2906553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ffektiv</a:t>
          </a: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 </a:t>
          </a:r>
          <a:b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</a:b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AI-Governance</a:t>
          </a:r>
          <a:endParaRPr lang="en-GB" sz="2000" kern="1200" dirty="0">
            <a:latin typeface="+mn-lt"/>
          </a:endParaRPr>
        </a:p>
      </dsp:txBody>
      <dsp:txXfrm>
        <a:off x="1323139" y="2906553"/>
        <a:ext cx="2369343" cy="866793"/>
      </dsp:txXfrm>
    </dsp:sp>
    <dsp:sp modelId="{6603E52E-95DF-4439-8402-9F613481FFD1}">
      <dsp:nvSpPr>
        <dsp:cNvPr id="0" name=""/>
        <dsp:cNvSpPr/>
      </dsp:nvSpPr>
      <dsp:spPr>
        <a:xfrm>
          <a:off x="3784795" y="2906553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Governance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prosess som holder tritt med fart og omfang av konsept innovasjon</a:t>
          </a:r>
          <a:endParaRPr kumimoji="0" lang="en-GB" sz="1300" b="0" i="0" u="none" strike="noStrike" kern="1200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+mn-lt"/>
            <a:ea typeface="Eudoxus Sans" pitchFamily="34" charset="-122"/>
            <a:cs typeface="Eudoxus Sans" pitchFamily="34" charset="-120"/>
          </a:endParaRPr>
        </a:p>
      </dsp:txBody>
      <dsp:txXfrm>
        <a:off x="3784795" y="2906553"/>
        <a:ext cx="2369343" cy="866793"/>
      </dsp:txXfrm>
    </dsp:sp>
    <dsp:sp modelId="{8D42EAA7-8431-4D03-9079-635095B5A99E}">
      <dsp:nvSpPr>
        <dsp:cNvPr id="0" name=""/>
        <dsp:cNvSpPr/>
      </dsp:nvSpPr>
      <dsp:spPr>
        <a:xfrm>
          <a:off x="1230827" y="3773347"/>
          <a:ext cx="492331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58DBA2-343B-4FAF-B2D0-839CCAD8BC56}">
      <dsp:nvSpPr>
        <dsp:cNvPr id="0" name=""/>
        <dsp:cNvSpPr/>
      </dsp:nvSpPr>
      <dsp:spPr>
        <a:xfrm>
          <a:off x="0" y="0"/>
          <a:ext cx="61541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DBED3E-D6B3-45EA-901F-E062F2534651}">
      <dsp:nvSpPr>
        <dsp:cNvPr id="0" name=""/>
        <dsp:cNvSpPr/>
      </dsp:nvSpPr>
      <dsp:spPr>
        <a:xfrm>
          <a:off x="0" y="0"/>
          <a:ext cx="1230827" cy="954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210" tIns="156210" rIns="156210" bIns="156210" numCol="1" spcCol="1270" anchor="t" anchorCtr="0">
          <a:noAutofit/>
        </a:bodyPr>
        <a:lstStyle/>
        <a:p>
          <a:pPr marL="0" lvl="0" indent="0" algn="l" defTabSz="1822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100" kern="1200" dirty="0">
              <a:latin typeface="+mn-lt"/>
            </a:rPr>
            <a:t>1.</a:t>
          </a:r>
          <a:endParaRPr lang="en-GB" sz="4100" b="0" kern="1200" dirty="0">
            <a:latin typeface="+mn-lt"/>
          </a:endParaRPr>
        </a:p>
      </dsp:txBody>
      <dsp:txXfrm>
        <a:off x="0" y="0"/>
        <a:ext cx="1230827" cy="954404"/>
      </dsp:txXfrm>
    </dsp:sp>
    <dsp:sp modelId="{84C58614-7037-4AC5-B328-187E7C300F94}">
      <dsp:nvSpPr>
        <dsp:cNvPr id="0" name=""/>
        <dsp:cNvSpPr/>
      </dsp:nvSpPr>
      <dsp:spPr>
        <a:xfrm>
          <a:off x="1323139" y="43339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nb-NO" sz="22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Integrasjon i forretningsprosess</a:t>
          </a:r>
          <a:endParaRPr kumimoji="0" lang="en-GB" sz="2200" b="1" i="0" u="none" strike="noStrike" kern="1200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+mn-lt"/>
            <a:ea typeface="p22-mackinac-pro" pitchFamily="34" charset="-122"/>
            <a:cs typeface="p22-mackinac-pro" pitchFamily="34" charset="-120"/>
          </a:endParaRPr>
        </a:p>
      </dsp:txBody>
      <dsp:txXfrm>
        <a:off x="1323139" y="43339"/>
        <a:ext cx="2369343" cy="866793"/>
      </dsp:txXfrm>
    </dsp:sp>
    <dsp:sp modelId="{718169AB-0FD1-4908-A801-75DAA5C50842}">
      <dsp:nvSpPr>
        <dsp:cNvPr id="0" name=""/>
        <dsp:cNvSpPr/>
      </dsp:nvSpPr>
      <dsp:spPr>
        <a:xfrm>
          <a:off x="3784795" y="43339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en-US" sz="1300" kern="1200" dirty="0" err="1">
              <a:solidFill>
                <a:srgbClr val="272525"/>
              </a:solidFill>
              <a:latin typeface="+mn-lt"/>
              <a:ea typeface="Eudoxus Sans" pitchFamily="34" charset="-122"/>
            </a:rPr>
            <a:t>Forretningsregler</a:t>
          </a:r>
          <a:r>
            <a:rPr lang="en-US" sz="1300" kern="1200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sz="1300" kern="1200" dirty="0" err="1">
              <a:solidFill>
                <a:srgbClr val="272525"/>
              </a:solidFill>
              <a:latin typeface="+mn-lt"/>
              <a:ea typeface="Eudoxus Sans" pitchFamily="34" charset="-122"/>
            </a:rPr>
            <a:t>datastrukturer</a:t>
          </a:r>
          <a:r>
            <a:rPr lang="en-US" sz="1300" kern="1200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sz="1300" kern="1200" dirty="0" err="1">
              <a:solidFill>
                <a:srgbClr val="272525"/>
              </a:solidFill>
              <a:latin typeface="+mn-lt"/>
              <a:ea typeface="Eudoxus Sans" pitchFamily="34" charset="-122"/>
            </a:rPr>
            <a:t>tilgangsrettigheter</a:t>
          </a:r>
          <a:r>
            <a:rPr lang="en-US" sz="1300" kern="1200" dirty="0">
              <a:solidFill>
                <a:srgbClr val="272525"/>
              </a:solidFill>
              <a:latin typeface="+mn-lt"/>
              <a:ea typeface="Eudoxus Sans" pitchFamily="34" charset="-122"/>
            </a:rPr>
            <a:t>, </a:t>
          </a:r>
          <a:r>
            <a:rPr lang="en-US" sz="1300" kern="1200" dirty="0" err="1">
              <a:solidFill>
                <a:srgbClr val="272525"/>
              </a:solidFill>
              <a:latin typeface="+mn-lt"/>
              <a:ea typeface="Eudoxus Sans" pitchFamily="34" charset="-122"/>
            </a:rPr>
            <a:t>integrasjoner</a:t>
          </a:r>
          <a:r>
            <a:rPr lang="en-US" sz="1300" kern="1200" dirty="0">
              <a:solidFill>
                <a:srgbClr val="272525"/>
              </a:solidFill>
              <a:latin typeface="+mn-lt"/>
              <a:ea typeface="Eudoxus Sans" pitchFamily="34" charset="-122"/>
            </a:rPr>
            <a:t> …</a:t>
          </a:r>
          <a:endParaRPr lang="en-GB" sz="1300" kern="1200" dirty="0">
            <a:latin typeface="+mn-lt"/>
          </a:endParaRPr>
        </a:p>
      </dsp:txBody>
      <dsp:txXfrm>
        <a:off x="3784795" y="43339"/>
        <a:ext cx="2369343" cy="866793"/>
      </dsp:txXfrm>
    </dsp:sp>
    <dsp:sp modelId="{07AA2E4B-2FC5-4F2F-B6BB-647F130CE34C}">
      <dsp:nvSpPr>
        <dsp:cNvPr id="0" name=""/>
        <dsp:cNvSpPr/>
      </dsp:nvSpPr>
      <dsp:spPr>
        <a:xfrm>
          <a:off x="1230827" y="910133"/>
          <a:ext cx="492331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C1DF126-C412-4199-9639-D1560F90BD19}">
      <dsp:nvSpPr>
        <dsp:cNvPr id="0" name=""/>
        <dsp:cNvSpPr/>
      </dsp:nvSpPr>
      <dsp:spPr>
        <a:xfrm>
          <a:off x="0" y="954404"/>
          <a:ext cx="61541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C21E66-6FF5-4198-9ADD-4AB69424E49F}">
      <dsp:nvSpPr>
        <dsp:cNvPr id="0" name=""/>
        <dsp:cNvSpPr/>
      </dsp:nvSpPr>
      <dsp:spPr>
        <a:xfrm>
          <a:off x="0" y="954404"/>
          <a:ext cx="1230827" cy="954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210" tIns="156210" rIns="156210" bIns="156210" numCol="1" spcCol="1270" anchor="t" anchorCtr="0">
          <a:noAutofit/>
        </a:bodyPr>
        <a:lstStyle/>
        <a:p>
          <a:pPr marL="0" lvl="0" indent="0" algn="l" defTabSz="1822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100" kern="1200" dirty="0">
              <a:latin typeface="+mn-lt"/>
            </a:rPr>
            <a:t>2.</a:t>
          </a:r>
        </a:p>
      </dsp:txBody>
      <dsp:txXfrm>
        <a:off x="0" y="954404"/>
        <a:ext cx="1230827" cy="954404"/>
      </dsp:txXfrm>
    </dsp:sp>
    <dsp:sp modelId="{E51757D3-76CF-4A64-A04D-A1C08C7A6F2A}">
      <dsp:nvSpPr>
        <dsp:cNvPr id="0" name=""/>
        <dsp:cNvSpPr/>
      </dsp:nvSpPr>
      <dsp:spPr>
        <a:xfrm>
          <a:off x="1323139" y="997744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nb-NO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Sikre en stabil brukeropplevelse</a:t>
          </a:r>
          <a:endParaRPr lang="nb-NO" sz="2000" kern="1200" noProof="0" dirty="0">
            <a:latin typeface="+mn-lt"/>
          </a:endParaRPr>
        </a:p>
      </dsp:txBody>
      <dsp:txXfrm>
        <a:off x="1323139" y="997744"/>
        <a:ext cx="2369343" cy="866793"/>
      </dsp:txXfrm>
    </dsp:sp>
    <dsp:sp modelId="{804086FF-BD4C-4D02-8E28-77121C82CF2C}">
      <dsp:nvSpPr>
        <dsp:cNvPr id="0" name=""/>
        <dsp:cNvSpPr/>
      </dsp:nvSpPr>
      <dsp:spPr>
        <a:xfrm>
          <a:off x="3784795" y="997744"/>
          <a:ext cx="2369343" cy="4333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nb-NO" sz="12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Tusenvis av brukere med ulik bakgrunn og kunnskap</a:t>
          </a:r>
          <a:endParaRPr lang="en-GB" sz="1200" kern="1200" dirty="0">
            <a:latin typeface="+mn-lt"/>
          </a:endParaRPr>
        </a:p>
      </dsp:txBody>
      <dsp:txXfrm>
        <a:off x="3784795" y="997744"/>
        <a:ext cx="2369343" cy="433396"/>
      </dsp:txXfrm>
    </dsp:sp>
    <dsp:sp modelId="{59A70CAF-EF7B-4101-AD20-FA66B28EF028}">
      <dsp:nvSpPr>
        <dsp:cNvPr id="0" name=""/>
        <dsp:cNvSpPr/>
      </dsp:nvSpPr>
      <dsp:spPr>
        <a:xfrm>
          <a:off x="3692483" y="1431141"/>
          <a:ext cx="236934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39A28C-AD7A-46A6-89CC-FD629542D662}">
      <dsp:nvSpPr>
        <dsp:cNvPr id="0" name=""/>
        <dsp:cNvSpPr/>
      </dsp:nvSpPr>
      <dsp:spPr>
        <a:xfrm>
          <a:off x="3784795" y="1431141"/>
          <a:ext cx="2369343" cy="4333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en-GB" sz="1200" kern="1200" dirty="0" err="1">
              <a:latin typeface="+mn-lt"/>
            </a:rPr>
            <a:t>Begrenset</a:t>
          </a:r>
          <a:r>
            <a:rPr lang="en-GB" sz="1200" kern="1200" dirty="0">
              <a:latin typeface="+mn-lt"/>
            </a:rPr>
            <a:t> </a:t>
          </a:r>
          <a:r>
            <a:rPr lang="en-GB" sz="1200" kern="1200" dirty="0" err="1">
              <a:latin typeface="+mn-lt"/>
            </a:rPr>
            <a:t>kontroll</a:t>
          </a:r>
          <a:r>
            <a:rPr lang="en-GB" sz="1200" kern="1200" dirty="0">
              <a:latin typeface="+mn-lt"/>
            </a:rPr>
            <a:t> </a:t>
          </a:r>
          <a:r>
            <a:rPr lang="en-GB" sz="1200" kern="1200" dirty="0" err="1">
              <a:latin typeface="+mn-lt"/>
            </a:rPr>
            <a:t>på</a:t>
          </a:r>
          <a:r>
            <a:rPr lang="en-GB" sz="1200" kern="1200" dirty="0">
              <a:latin typeface="+mn-lt"/>
            </a:rPr>
            <a:t> LLM modeller</a:t>
          </a:r>
        </a:p>
      </dsp:txBody>
      <dsp:txXfrm>
        <a:off x="3784795" y="1431141"/>
        <a:ext cx="2369343" cy="433396"/>
      </dsp:txXfrm>
    </dsp:sp>
    <dsp:sp modelId="{1E6A02EF-3187-423A-BEB2-AF7CD908F185}">
      <dsp:nvSpPr>
        <dsp:cNvPr id="0" name=""/>
        <dsp:cNvSpPr/>
      </dsp:nvSpPr>
      <dsp:spPr>
        <a:xfrm>
          <a:off x="1230827" y="1864537"/>
          <a:ext cx="492331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8B9503-63C0-4520-BC14-DDEC3B4D072B}">
      <dsp:nvSpPr>
        <dsp:cNvPr id="0" name=""/>
        <dsp:cNvSpPr/>
      </dsp:nvSpPr>
      <dsp:spPr>
        <a:xfrm>
          <a:off x="0" y="1908809"/>
          <a:ext cx="61541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71F20C-BE1E-4F90-8BA3-1D0212A56127}">
      <dsp:nvSpPr>
        <dsp:cNvPr id="0" name=""/>
        <dsp:cNvSpPr/>
      </dsp:nvSpPr>
      <dsp:spPr>
        <a:xfrm>
          <a:off x="0" y="1908809"/>
          <a:ext cx="1230827" cy="954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210" tIns="156210" rIns="156210" bIns="156210" numCol="1" spcCol="1270" anchor="t" anchorCtr="0">
          <a:noAutofit/>
        </a:bodyPr>
        <a:lstStyle/>
        <a:p>
          <a:pPr marL="0" lvl="0" indent="0" algn="l" defTabSz="1822450">
            <a:lnSpc>
              <a:spcPct val="10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en-US" sz="41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3.</a:t>
          </a:r>
          <a:endParaRPr lang="en-GB" sz="4100" kern="1200" dirty="0">
            <a:latin typeface="+mn-lt"/>
          </a:endParaRPr>
        </a:p>
      </dsp:txBody>
      <dsp:txXfrm>
        <a:off x="0" y="1908809"/>
        <a:ext cx="1230827" cy="954404"/>
      </dsp:txXfrm>
    </dsp:sp>
    <dsp:sp modelId="{DEA036F4-4D9B-48B9-89B7-B2658DE4CE4D}">
      <dsp:nvSpPr>
        <dsp:cNvPr id="0" name=""/>
        <dsp:cNvSpPr/>
      </dsp:nvSpPr>
      <dsp:spPr>
        <a:xfrm>
          <a:off x="1323139" y="1952149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nde-</a:t>
          </a: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til</a:t>
          </a: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-</a:t>
          </a: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nde-automatisering</a:t>
          </a:r>
          <a:endParaRPr kumimoji="0" lang="en-GB" sz="2000" b="1" i="0" u="none" strike="noStrike" kern="1200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Calibri" panose="020F0502020204030204"/>
            <a:ea typeface="p22-mackinac-pro" pitchFamily="34" charset="-122"/>
            <a:cs typeface="p22-mackinac-pro" pitchFamily="34" charset="-120"/>
          </a:endParaRPr>
        </a:p>
      </dsp:txBody>
      <dsp:txXfrm>
        <a:off x="1323139" y="1952149"/>
        <a:ext cx="2369343" cy="866793"/>
      </dsp:txXfrm>
    </dsp:sp>
    <dsp:sp modelId="{93E06218-B209-4928-855A-F13352CA9344}">
      <dsp:nvSpPr>
        <dsp:cNvPr id="0" name=""/>
        <dsp:cNvSpPr/>
      </dsp:nvSpPr>
      <dsp:spPr>
        <a:xfrm>
          <a:off x="3784795" y="1952149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"</a:t>
          </a: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out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of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the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</a:t>
          </a: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box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" løsninger uten kompliserte </a:t>
          </a: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implementerigs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- prosjekter</a:t>
          </a:r>
          <a:endParaRPr lang="en-GB" sz="1300" kern="1200" dirty="0">
            <a:latin typeface="+mn-lt"/>
          </a:endParaRPr>
        </a:p>
      </dsp:txBody>
      <dsp:txXfrm>
        <a:off x="3784795" y="1952149"/>
        <a:ext cx="2369343" cy="866793"/>
      </dsp:txXfrm>
    </dsp:sp>
    <dsp:sp modelId="{BA360986-FE0F-4517-9E13-58CEBD9D77C1}">
      <dsp:nvSpPr>
        <dsp:cNvPr id="0" name=""/>
        <dsp:cNvSpPr/>
      </dsp:nvSpPr>
      <dsp:spPr>
        <a:xfrm>
          <a:off x="1230827" y="2818942"/>
          <a:ext cx="492331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20B13A-EF89-4C0B-A462-AB01F7D03BFF}">
      <dsp:nvSpPr>
        <dsp:cNvPr id="0" name=""/>
        <dsp:cNvSpPr/>
      </dsp:nvSpPr>
      <dsp:spPr>
        <a:xfrm>
          <a:off x="0" y="2863214"/>
          <a:ext cx="615413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36752E2-C357-4B45-A29C-F8EC1FD199E0}">
      <dsp:nvSpPr>
        <dsp:cNvPr id="0" name=""/>
        <dsp:cNvSpPr/>
      </dsp:nvSpPr>
      <dsp:spPr>
        <a:xfrm>
          <a:off x="0" y="2863214"/>
          <a:ext cx="1230827" cy="954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210" tIns="156210" rIns="156210" bIns="156210" numCol="1" spcCol="1270" anchor="t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en-GB" sz="4100" kern="1200" dirty="0">
              <a:latin typeface="+mn-lt"/>
            </a:rPr>
            <a:t>4.</a:t>
          </a:r>
        </a:p>
      </dsp:txBody>
      <dsp:txXfrm>
        <a:off x="0" y="2863214"/>
        <a:ext cx="1230827" cy="954404"/>
      </dsp:txXfrm>
    </dsp:sp>
    <dsp:sp modelId="{31AA0E48-E629-4A1F-84E4-86935EF341D2}">
      <dsp:nvSpPr>
        <dsp:cNvPr id="0" name=""/>
        <dsp:cNvSpPr/>
      </dsp:nvSpPr>
      <dsp:spPr>
        <a:xfrm>
          <a:off x="1323139" y="2906553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Calibri" panose="020F0502020204030204"/>
              <a:ea typeface="p22-mackinac-pro" pitchFamily="34" charset="-122"/>
              <a:cs typeface="p22-mackinac-pro" pitchFamily="34" charset="-120"/>
            </a:rPr>
            <a:t>Effektiv</a:t>
          </a: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 </a:t>
          </a:r>
          <a:b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</a:b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p22-mackinac-pro" pitchFamily="34" charset="-122"/>
              <a:cs typeface="p22-mackinac-pro" pitchFamily="34" charset="-120"/>
            </a:rPr>
            <a:t>KI-Governance</a:t>
          </a:r>
          <a:endParaRPr lang="en-GB" sz="2000" kern="1200" dirty="0">
            <a:latin typeface="+mn-lt"/>
          </a:endParaRPr>
        </a:p>
      </dsp:txBody>
      <dsp:txXfrm>
        <a:off x="1323139" y="2906553"/>
        <a:ext cx="2369343" cy="866793"/>
      </dsp:txXfrm>
    </dsp:sp>
    <dsp:sp modelId="{6603E52E-95DF-4439-8402-9F613481FFD1}">
      <dsp:nvSpPr>
        <dsp:cNvPr id="0" name=""/>
        <dsp:cNvSpPr/>
      </dsp:nvSpPr>
      <dsp:spPr>
        <a:xfrm>
          <a:off x="3784795" y="2906553"/>
          <a:ext cx="2369343" cy="866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nb-NO" sz="1300" b="0" i="0" u="none" strike="noStrike" kern="1200" cap="none" spc="0" normalizeH="0" baseline="0" noProof="0" dirty="0" err="1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Governance</a:t>
          </a:r>
          <a:r>
            <a: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272525"/>
              </a:solidFill>
              <a:effectLst/>
              <a:uLnTx/>
              <a:uFillTx/>
              <a:latin typeface="+mn-lt"/>
              <a:ea typeface="Eudoxus Sans" pitchFamily="34" charset="-122"/>
              <a:cs typeface="Eudoxus Sans" pitchFamily="34" charset="-120"/>
            </a:rPr>
            <a:t> prosess som holder tritt med fart og omfang av konsept og teknologi innovasjon</a:t>
          </a:r>
          <a:endParaRPr kumimoji="0" lang="en-GB" sz="1300" b="0" i="0" u="none" strike="noStrike" kern="1200" cap="none" spc="0" normalizeH="0" baseline="0" dirty="0">
            <a:ln>
              <a:noFill/>
            </a:ln>
            <a:solidFill>
              <a:srgbClr val="272525"/>
            </a:solidFill>
            <a:effectLst/>
            <a:uLnTx/>
            <a:uFillTx/>
            <a:latin typeface="+mn-lt"/>
            <a:ea typeface="Eudoxus Sans" pitchFamily="34" charset="-122"/>
            <a:cs typeface="Eudoxus Sans" pitchFamily="34" charset="-120"/>
          </a:endParaRPr>
        </a:p>
      </dsp:txBody>
      <dsp:txXfrm>
        <a:off x="3784795" y="2906553"/>
        <a:ext cx="2369343" cy="866793"/>
      </dsp:txXfrm>
    </dsp:sp>
    <dsp:sp modelId="{8D42EAA7-8431-4D03-9079-635095B5A99E}">
      <dsp:nvSpPr>
        <dsp:cNvPr id="0" name=""/>
        <dsp:cNvSpPr/>
      </dsp:nvSpPr>
      <dsp:spPr>
        <a:xfrm>
          <a:off x="1230827" y="3773347"/>
          <a:ext cx="492331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E9FA273-E199-41C9-8095-7DD5CEBF55A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0B2809-BE04-47E1-9FDF-AC3BF785E2B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A56376-53EC-491F-9D95-B02A0CFB2100}" type="datetimeFigureOut">
              <a:rPr lang="en-GB" smtClean="0"/>
              <a:t>14/02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8313D2-DC2E-487C-A484-C261C3B9002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549E73-2B78-4777-85D8-D41CA3F3F3E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258EC5-5937-49D0-B205-3DB3AB0582F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60363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172F8D-B116-4CD7-A757-FF786F89BACC}" type="datetimeFigureOut">
              <a:rPr lang="en-GB" smtClean="0"/>
              <a:t>14/02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4AF984-95C0-4021-BEF5-D91CB9F5380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9720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75F2EF-2CE1-4B76-AE46-790801331C7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824455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7C4C97-A905-97C5-6CDB-334AEFECD8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E76B716-50B7-B634-B7FF-4B89C43003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44812D-5F9F-58BA-19AD-F23276C46E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AA0557-CBD9-E680-13B3-FCF9F909D2B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53434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4F2289-478E-FC04-AE2E-D728444AF1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EF791F-F435-178F-17A7-40082FE341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D5D6A0-462F-7A8A-B7B9-C6BB4ABBE8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7EE534-F6FB-9FF2-F355-5164CB9A62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62918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94AD85-045D-4B28-8C48-313F57D52D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4337F9-8508-6384-00E6-BA484FE6FA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711C17A-B0E6-19AA-DD86-2BBDEDED42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126052-4D11-F78D-2CB2-24779FC12FE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27651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4AF984-95C0-4021-BEF5-D91CB9F53804}" type="slidenum">
              <a:rPr lang="en-GB" smtClean="0"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41150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Link to </a:t>
            </a:r>
            <a:r>
              <a:rPr lang="nb-NO" err="1"/>
              <a:t>english</a:t>
            </a:r>
            <a:r>
              <a:rPr lang="nb-NO"/>
              <a:t> </a:t>
            </a:r>
            <a:r>
              <a:rPr lang="nb-NO" err="1"/>
              <a:t>article</a:t>
            </a:r>
            <a:r>
              <a:rPr lang="nb-NO"/>
              <a:t> </a:t>
            </a:r>
            <a:r>
              <a:rPr lang="nb-NO" err="1"/>
              <a:t>related</a:t>
            </a:r>
            <a:r>
              <a:rPr lang="nb-NO"/>
              <a:t> to </a:t>
            </a:r>
            <a:r>
              <a:rPr lang="nb-NO" err="1"/>
              <a:t>the</a:t>
            </a:r>
            <a:r>
              <a:rPr lang="nb-NO"/>
              <a:t> Lillestrøm case: https://www.tietoevry.com/en/newsroom/all-news-and-releases/other-news/2023/02/protecting-privacy-with-artificial-intelligence/</a:t>
            </a:r>
          </a:p>
          <a:p>
            <a:endParaRPr lang="nb-NO"/>
          </a:p>
          <a:p>
            <a:endParaRPr lang="en-LV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4AF984-95C0-4021-BEF5-D91CB9F5380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43503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421C2E-D1D2-0E17-9FCE-075ED762AB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32B66F3-2500-D990-90AF-F25AB2F5EE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B84716-1C3F-B283-D607-176181B370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C16564-0F8B-99F6-32B3-75A9C7E984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4AF984-95C0-4021-BEF5-D91CB9F5380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04834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900" dirty="0"/>
              <a:t>Digitalisering har gitt betydelige produktivitetsgevinster i offentlig sektor, men brukere må fortsatt ofte løse opp i alle «flaskehalsene» i prosess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75F2EF-2CE1-4B76-AE46-790801331C7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89260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DA13FD-9D80-2514-6696-AC93248380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307263-6C03-93BB-4C78-192B7266C0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B8C340-AD60-F1A9-4D44-71E442720C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900" dirty="0"/>
              <a:t>Digitalisering har gitt betydelige produktivitetsgevinster i offentlig sektor, men brukere må fortsatt ofte løse opp i alle «flaskehalsene» i prosesse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7745BC-08D3-1D62-5669-894ABB4250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75F2EF-2CE1-4B76-AE46-790801331C7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69789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75F2EF-2CE1-4B76-AE46-790801331C7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44953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B71AA7-3AAC-3976-8F56-3059D2D6FC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EB05349-1814-2BCD-5E94-F96E0D9BC4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83A0D7-CB5F-9B08-2132-0E1A0EE78D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293B08-B129-EC28-BA5F-6F768B665E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75F2EF-2CE1-4B76-AE46-790801331C7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62162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40869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19878A-F367-B752-5F53-B80A49EEC3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2A999B-3D2D-6A68-9FBE-A84E95A3F2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8F96B97-9C85-5961-FFDB-2B75D4A677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FAAE49-8F1C-F1EA-1497-B98C8DA74C7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021451-1387-4CA6-816F-3879F97B5CB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54685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.bin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.xml"/><Relationship Id="rId4" Type="http://schemas.openxmlformats.org/officeDocument/2006/relationships/image" Target="../media/image33.emf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1">
    <p:bg>
      <p:bgPr>
        <a:solidFill>
          <a:srgbClr val="F7EAE4">
            <a:alpha val="25098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1" y="231776"/>
            <a:ext cx="4104000" cy="2583344"/>
          </a:xfrm>
        </p:spPr>
        <p:txBody>
          <a:bodyPr anchor="b"/>
          <a:lstStyle>
            <a:lvl1pPr algn="l">
              <a:defRPr sz="4400" b="0"/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6261" y="2933271"/>
            <a:ext cx="4104000" cy="1008000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add sub title</a:t>
            </a:r>
          </a:p>
        </p:txBody>
      </p:sp>
      <p:grpSp>
        <p:nvGrpSpPr>
          <p:cNvPr id="11" name="Logo">
            <a:extLst>
              <a:ext uri="{FF2B5EF4-FFF2-40B4-BE49-F238E27FC236}">
                <a16:creationId xmlns:a16="http://schemas.microsoft.com/office/drawing/2014/main" id="{E1AED2E5-EACC-4379-8B86-BDCC33C41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71125" y="4482250"/>
            <a:ext cx="1535077" cy="256610"/>
            <a:chOff x="301852" y="4913727"/>
            <a:chExt cx="487916" cy="81562"/>
          </a:xfrm>
          <a:solidFill>
            <a:schemeClr val="accent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9A30684-A5A5-4C39-B1C5-51CC46FDC0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958761"/>
            <a:ext cx="4104000" cy="36512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655B54"/>
                </a:solidFill>
              </a:defRPr>
            </a:lvl1pPr>
            <a:lvl2pPr marL="179388" indent="0">
              <a:buNone/>
              <a:defRPr/>
            </a:lvl2pPr>
            <a:lvl3pPr marL="360362" indent="0">
              <a:buNone/>
              <a:defRPr/>
            </a:lvl3pPr>
            <a:lvl4pPr marL="539750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GB"/>
              <a:t>Click to add date and/or presenters name</a:t>
            </a:r>
            <a:endParaRPr lang="en-GB" dirty="0"/>
          </a:p>
        </p:txBody>
      </p:sp>
      <p:sp>
        <p:nvSpPr>
          <p:cNvPr id="73" name="Dots">
            <a:extLst>
              <a:ext uri="{FF2B5EF4-FFF2-40B4-BE49-F238E27FC236}">
                <a16:creationId xmlns:a16="http://schemas.microsoft.com/office/drawing/2014/main" id="{B0423462-8FE2-4022-8D8D-6B7FE496DD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5621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 1">
    <p:bg>
      <p:bgPr>
        <a:solidFill>
          <a:schemeClr val="accent5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8" y="837147"/>
            <a:ext cx="4392923" cy="1882203"/>
          </a:xfrm>
        </p:spPr>
        <p:txBody>
          <a:bodyPr anchor="b"/>
          <a:lstStyle>
            <a:lvl1pPr algn="l"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Speakers nam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A3928A5-23A9-42AB-BE2A-254DDB2EE1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8" y="2719350"/>
            <a:ext cx="4392923" cy="1008000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rgbClr val="655B54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role title</a:t>
            </a:r>
            <a:endParaRPr lang="en-GB" dirty="0"/>
          </a:p>
        </p:txBody>
      </p:sp>
      <p:grpSp>
        <p:nvGrpSpPr>
          <p:cNvPr id="34" name="Graphic 19">
            <a:extLst>
              <a:ext uri="{FF2B5EF4-FFF2-40B4-BE49-F238E27FC236}">
                <a16:creationId xmlns:a16="http://schemas.microsoft.com/office/drawing/2014/main" id="{30CCF508-8A96-414E-9404-07DB1BC111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F07F829-F6FC-4DF2-90CA-7E0E05E129F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C99CDAA-6B26-4696-95A7-75B99CF0A8D5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49E2DEE-F59C-4F32-839F-23EF943860C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4FECE93-C406-440F-B693-95442BB2B39D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2779207-3649-4476-B022-010AD1C8527D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F519B0A-0299-483D-BAFF-7DB63D01CAF8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2CBB9F8-0686-4E84-A9E1-C36C0BFC789A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0F79D2-7F6D-4A6C-99C4-1197C1C96A4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25792C8-2B0A-4D38-8872-2BA9859CC20C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C6C7FB1-D6C2-4132-87FD-770849F63E7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A97DBC4-3087-4BF9-837F-611C44A4C982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A90523E-2EEF-4C47-8A8E-75151ECB51E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AF56317-AA4A-4D20-98E3-07A50B1DB919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9E2A8E1-D8EA-4D9A-BF79-BBC3C8319030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59C028A-6019-4F31-98BF-64BCC56D005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E578A76-37FF-465B-A2F8-022311982319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A3D30F8-66D8-42FE-A00A-CBC30A14DA93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47D2386-F1CE-4D5D-A178-537E05B7FAA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56E0BFB-980D-49F4-BE48-1D88A88AADB8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B7FACB1-263A-42DA-8964-252FBF1B7141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A9B3A4-EC1D-48FE-AA9D-498A39DEE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B2D188-24CD-4318-B9F6-CDB0F6DA71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7CCF62-5A96-461B-B8BA-E249CAEFF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2" name="Picture Placeholder 62">
            <a:extLst>
              <a:ext uri="{FF2B5EF4-FFF2-40B4-BE49-F238E27FC236}">
                <a16:creationId xmlns:a16="http://schemas.microsoft.com/office/drawing/2014/main" id="{51DD727F-E43F-4B84-9AF0-3AE3A5A8C3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15025" y="1050925"/>
            <a:ext cx="2524125" cy="33385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68500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and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C1A66733-51BD-4A1B-A1E1-2EA7AEFEDF6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13418" y="0"/>
            <a:ext cx="3030582" cy="51435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5"/>
            <a:ext cx="5580061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8" y="4875767"/>
            <a:ext cx="1327855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7" y="4875767"/>
            <a:ext cx="316567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86C15EA9-6488-44FD-9697-87CBA3F1898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9" y="1384300"/>
            <a:ext cx="2663825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9853EE3-B235-4C12-856E-DA5CA39C63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03576" y="1384300"/>
            <a:ext cx="2663825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861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696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EFD8556-0AB6-4925-BC1F-6A8D224BE8A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203576" y="0"/>
            <a:ext cx="5940425" cy="5143500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6"/>
            <a:ext cx="2663824" cy="1008064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8" y="4875767"/>
            <a:ext cx="1327855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7" y="4875767"/>
            <a:ext cx="316567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1FC4084A-15B9-46BC-968F-A2F45E8851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7339" y="1384300"/>
            <a:ext cx="2663825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8857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696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2EED53-4FAF-470B-BABA-95415FCA0B32}"/>
              </a:ext>
            </a:extLst>
          </p:cNvPr>
          <p:cNvSpPr/>
          <p:nvPr userDrawn="1"/>
        </p:nvSpPr>
        <p:spPr>
          <a:xfrm>
            <a:off x="1" y="0"/>
            <a:ext cx="3203575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5"/>
            <a:ext cx="2663824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8" y="4875767"/>
            <a:ext cx="1327855" cy="129382"/>
          </a:xfrm>
        </p:spPr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7" y="4875767"/>
            <a:ext cx="316567" cy="129382"/>
          </a:xfrm>
        </p:spPr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6EC4B04A-FD2E-440A-B266-DB1890A20B15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BEBEBE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4E67AE1-3A55-4FE3-AFA3-D44BDDE51A76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DDF7F79-ACCF-4E1A-8668-26E488678121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B84DAD-A6E2-4856-A62D-335C50EF1184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7650A64-39E5-4A8B-8C8A-C967473220D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0D8D9B8-112F-4E87-8C53-3E8A9737CAC8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A42C00B-48E5-45D9-8C25-3D9FDFC144D1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6846ED9-346A-4E74-B2C7-E35F271FA7E2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A4A0209-A5B5-4352-AA4A-3EC008E71236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2F71D0-BFBB-44B6-9F79-499711036F57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5386E7E-229C-4AC3-B5BE-E9CF22FEE78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B68B6AE-6454-46C6-821D-20923944E95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10546DE-A37B-4F37-8A23-7BEA4B35C08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5D784D4-ED0C-4B9F-8199-612AB0334EE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06A1E2-3540-412C-96A7-24C8339F5787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5836F61A-C498-4BF3-B126-BBAD79E248A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BA1CDF-7FA8-43EC-B8CB-01A67A5DBA46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FE79733-74E2-4B88-A2C0-8A84B618AE3F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6604E9F-B455-447C-840D-B2E6098341A3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CE3B313-27DB-4FE0-A76F-6254993DF3CC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E40B51F9-0E4E-4B25-9A8D-AB82B7CD8FDA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34D410A3-6262-4104-8421-EEA32224C9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9" y="1384300"/>
            <a:ext cx="2663825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ED0B705-AD58-4371-B16B-CE872F23B60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301656" y="737389"/>
            <a:ext cx="3744264" cy="333368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728" b="728"/>
            </a:stretch>
          </a:blip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09360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696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/textboxe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2EED53-4FAF-470B-BABA-95415FCA0B32}"/>
              </a:ext>
            </a:extLst>
          </p:cNvPr>
          <p:cNvSpPr/>
          <p:nvPr userDrawn="1"/>
        </p:nvSpPr>
        <p:spPr>
          <a:xfrm>
            <a:off x="1" y="0"/>
            <a:ext cx="3203575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5"/>
            <a:ext cx="2663824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8" y="4875767"/>
            <a:ext cx="1327855" cy="129382"/>
          </a:xfrm>
        </p:spPr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7" y="4875767"/>
            <a:ext cx="316567" cy="129382"/>
          </a:xfrm>
        </p:spPr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6EC4B04A-FD2E-440A-B266-DB1890A20B15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BEBEBE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4E67AE1-3A55-4FE3-AFA3-D44BDDE51A76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DDF7F79-ACCF-4E1A-8668-26E488678121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B84DAD-A6E2-4856-A62D-335C50EF1184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7650A64-39E5-4A8B-8C8A-C967473220D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0D8D9B8-112F-4E87-8C53-3E8A9737CAC8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A42C00B-48E5-45D9-8C25-3D9FDFC144D1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6846ED9-346A-4E74-B2C7-E35F271FA7E2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A4A0209-A5B5-4352-AA4A-3EC008E71236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2F71D0-BFBB-44B6-9F79-499711036F57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5386E7E-229C-4AC3-B5BE-E9CF22FEE78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B68B6AE-6454-46C6-821D-20923944E95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10546DE-A37B-4F37-8A23-7BEA4B35C08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5D784D4-ED0C-4B9F-8199-612AB0334EE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06A1E2-3540-412C-96A7-24C8339F5787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5836F61A-C498-4BF3-B126-BBAD79E248A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BA1CDF-7FA8-43EC-B8CB-01A67A5DBA46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FE79733-74E2-4B88-A2C0-8A84B618AE3F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6604E9F-B455-447C-840D-B2E6098341A3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CE3B313-27DB-4FE0-A76F-6254993DF3CC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E40B51F9-0E4E-4B25-9A8D-AB82B7CD8FDA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34D410A3-6262-4104-8421-EEA32224C9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9" y="1384300"/>
            <a:ext cx="2663825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ED0B705-AD58-4371-B16B-CE872F23B60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238047" y="1166760"/>
            <a:ext cx="877538" cy="781310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91CD0FB5-E4FD-4E34-9502-77B6475DA32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38047" y="2120917"/>
            <a:ext cx="877538" cy="781310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F7DDAB31-986C-40A8-9C1D-E66196707E3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238047" y="3075073"/>
            <a:ext cx="877538" cy="781310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ED74DBC9-5F8C-482F-B8EC-528AE7B206B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04211" y="1166760"/>
            <a:ext cx="3652452" cy="781310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179384" indent="0">
              <a:buNone/>
              <a:defRPr sz="1100">
                <a:solidFill>
                  <a:schemeClr val="bg1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4526E8DE-9F24-429B-97B3-00129BD207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04211" y="2120917"/>
            <a:ext cx="3652452" cy="781310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179384" indent="0">
              <a:buNone/>
              <a:defRPr sz="1100">
                <a:solidFill>
                  <a:schemeClr val="bg1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6980C8EB-C6DC-4B20-952E-C374410D186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04211" y="3075073"/>
            <a:ext cx="3652452" cy="781310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179384" indent="0">
              <a:buNone/>
              <a:defRPr sz="1100">
                <a:solidFill>
                  <a:schemeClr val="bg1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836222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696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bg>
      <p:bgPr>
        <a:solidFill>
          <a:schemeClr val="accent3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90CF30B-0460-4090-8253-4C0C66AF2BC8}"/>
              </a:ext>
            </a:extLst>
          </p:cNvPr>
          <p:cNvSpPr/>
          <p:nvPr userDrawn="1"/>
        </p:nvSpPr>
        <p:spPr>
          <a:xfrm>
            <a:off x="1" y="0"/>
            <a:ext cx="3203575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4"/>
            <a:ext cx="2663824" cy="1008064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8" y="4875767"/>
            <a:ext cx="1327855" cy="129382"/>
          </a:xfrm>
        </p:spPr>
        <p:txBody>
          <a:bodyPr/>
          <a:lstStyle>
            <a:lvl1pPr>
              <a:defRPr>
                <a:solidFill>
                  <a:srgbClr val="A9A9A9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7" y="4875767"/>
            <a:ext cx="316567" cy="129382"/>
          </a:xfrm>
        </p:spPr>
        <p:txBody>
          <a:bodyPr/>
          <a:lstStyle>
            <a:lvl1pPr>
              <a:defRPr>
                <a:solidFill>
                  <a:srgbClr val="A9A9A9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2135EBB7-89A2-462D-8F90-9B79ED46DCA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BEBEBE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FCE5AD2-C0B6-4416-8377-C3F33413204D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6495CA5-5589-4B2B-98FB-D20F392F574D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2252530-7889-4BA8-831A-58B2276F173D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AFEE500-4CD8-40CF-AB55-7E7F80EC6513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A17C36B-8CE7-4ECB-A0B5-E528AD02774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E66A775-32E8-41CB-90F0-5C4576F39F11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38384A2-15B4-4BDE-8BE0-77541982E332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A87B1E7-E372-44CB-973A-519D64CAD6F7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C3A118D-41E8-4B95-A78E-85F79ECB7707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961566C-4B79-4974-A51E-FC5CCE1B625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ED51D0D-C996-4EE9-B171-AD29F2DE7B9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3FC1AA2-5191-46F5-AB4E-A9D20CD38578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96860F0-A49A-4285-B37A-503ECD985D00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BE11755-AF30-4D54-BF20-F853D417C577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189726A-4322-4ABC-A42A-685C0655ABD9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106B221-15F6-479D-BFA6-3915FE60FFD6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21E8CBF-44DC-42F6-8736-FF558A5B9D4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E4AC2BA-2471-4EDF-A746-20381B89DBE7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BFA87CC-878C-4AF8-8560-B98D25B8FCB1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0171221-5F88-475A-BA07-A22812E05880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9FDFBFB1-B9E7-4A32-A990-00F6849ACC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9" y="1384300"/>
            <a:ext cx="2663824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99B0955-4799-4906-A566-C24D9C3A04F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455989" y="231776"/>
            <a:ext cx="5400675" cy="4392613"/>
          </a:xfrm>
        </p:spPr>
        <p:txBody>
          <a:bodyPr/>
          <a:lstStyle>
            <a:lvl1pPr marL="0" indent="0">
              <a:buNone/>
              <a:defRPr/>
            </a:lvl1pPr>
            <a:lvl2pPr marL="179384" indent="0">
              <a:buNone/>
              <a:defRPr/>
            </a:lvl2pPr>
          </a:lstStyle>
          <a:p>
            <a:pPr lvl="0"/>
            <a:r>
              <a:rPr lang="en-US"/>
              <a:t>Click to add content for example chart or table</a:t>
            </a:r>
          </a:p>
        </p:txBody>
      </p:sp>
    </p:spTree>
    <p:extLst>
      <p:ext uri="{BB962C8B-B14F-4D97-AF65-F5344CB8AC3E}">
        <p14:creationId xmlns:p14="http://schemas.microsoft.com/office/powerpoint/2010/main" val="4204263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696">
          <p15:clr>
            <a:srgbClr val="FBAE40"/>
          </p15:clr>
        </p15:guide>
        <p15:guide id="5" pos="2177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four char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1" y="231775"/>
            <a:ext cx="8569322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8" y="4875767"/>
            <a:ext cx="1327855" cy="129382"/>
          </a:xfrm>
        </p:spPr>
        <p:txBody>
          <a:bodyPr/>
          <a:lstStyle>
            <a:lvl1pPr>
              <a:defRPr>
                <a:solidFill>
                  <a:srgbClr val="A9A9A9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7" y="4875767"/>
            <a:ext cx="316567" cy="129382"/>
          </a:xfrm>
        </p:spPr>
        <p:txBody>
          <a:bodyPr/>
          <a:lstStyle>
            <a:lvl1pPr>
              <a:defRPr>
                <a:solidFill>
                  <a:srgbClr val="A9A9A9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B9FC45D-54D5-4036-93FE-B8CC03146E43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3203575" y="1387562"/>
            <a:ext cx="2700338" cy="156027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7" name="Chart Placeholder 5">
            <a:extLst>
              <a:ext uri="{FF2B5EF4-FFF2-40B4-BE49-F238E27FC236}">
                <a16:creationId xmlns:a16="http://schemas.microsoft.com/office/drawing/2014/main" id="{4712E5B9-D971-42A0-B7C2-EADDA62014AD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156325" y="1387562"/>
            <a:ext cx="2700338" cy="156027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9" name="Chart Placeholder 5">
            <a:extLst>
              <a:ext uri="{FF2B5EF4-FFF2-40B4-BE49-F238E27FC236}">
                <a16:creationId xmlns:a16="http://schemas.microsoft.com/office/drawing/2014/main" id="{0512725E-F973-4E54-B29A-0CF2150058E6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3203575" y="3068233"/>
            <a:ext cx="2700338" cy="156027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20" name="Chart Placeholder 5">
            <a:extLst>
              <a:ext uri="{FF2B5EF4-FFF2-40B4-BE49-F238E27FC236}">
                <a16:creationId xmlns:a16="http://schemas.microsoft.com/office/drawing/2014/main" id="{BE898CDF-F524-424F-97F4-3286D721F31E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156325" y="3068233"/>
            <a:ext cx="2700338" cy="156027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E401FDBC-1089-4486-B418-A836F55B65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7339" y="1384300"/>
            <a:ext cx="2663825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76611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719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slid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0" name="Graphic 19">
            <a:extLst>
              <a:ext uri="{FF2B5EF4-FFF2-40B4-BE49-F238E27FC236}">
                <a16:creationId xmlns:a16="http://schemas.microsoft.com/office/drawing/2014/main" id="{59D87852-F834-409C-B191-0E3DB7829DDA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DF0FC44-919D-4D5C-BEDE-797DF9691A1F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2253D34-D437-45DF-84B9-D1CE60A1D188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40F4A8E-A03D-44B8-8474-1E1C3A2C5F7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FE8BD5B-94B5-4CAD-BE37-5FE1AD4E054A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B76B74-3ECE-4814-94B0-D91AF2A16645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3F50BF5-3D0F-4E32-9548-2354410572D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7BE7FA7-6CA4-4917-9C43-7B3C45C3A74D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EF1529-5969-4764-ADDC-55D2BEFAA9E0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82530C-BFF7-4FFE-89DD-F04656417F4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C00ED5B-069D-4629-9913-B89C79468A99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0DE64EC-1D8A-4A18-AA0D-966EA50380E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DD7AA4-96EE-4BE7-9AA6-FA06015C4658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FFBFE74-5BE0-4D88-9236-1490CB17271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920FB49-B53C-4555-9E94-A490506760C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C284678-601C-4037-8C9A-B5312F4A0C7A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C680057-9F14-40E7-A752-ED40510F485F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13A42F-A8E7-44E3-BB4A-7C763B911329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E738A0-7E88-4E9C-B9B3-96C293DE9CE9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EAB8D02-ECE2-4190-8241-1DF731560355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6C8C16D-3A30-4ADF-A1E1-5E5668E7D70F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7132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564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text boxes">
    <p:bg>
      <p:bgPr>
        <a:solidFill>
          <a:schemeClr val="accent3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DB9D176-43F4-4CF4-9D48-99DC583F1DC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9144000" cy="2664823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779776"/>
            <a:ext cx="2628899" cy="959674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Shor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F4B38B19-CADF-4FC1-9242-DEBCD1E6C247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87338" y="3817826"/>
            <a:ext cx="2628899" cy="80656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E5DF87C-1B84-491A-8BE0-03F3EBFD02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25776" y="2481944"/>
            <a:ext cx="1363345" cy="1755647"/>
          </a:xfrm>
          <a:solidFill>
            <a:schemeClr val="accent3"/>
          </a:solidFill>
        </p:spPr>
        <p:txBody>
          <a:bodyPr lIns="180000" tIns="144000" rIns="180000" bIns="144000">
            <a:normAutofit/>
          </a:bodyPr>
          <a:lstStyle>
            <a:lvl1pPr marL="0" indent="0">
              <a:buNone/>
              <a:defRPr sz="1000"/>
            </a:lvl1pPr>
            <a:lvl2pPr marL="87311" indent="0">
              <a:buNone/>
              <a:defRPr sz="1000"/>
            </a:lvl2pPr>
            <a:lvl3pPr marL="179383" indent="0">
              <a:buNone/>
              <a:defRPr sz="1000"/>
            </a:lvl3pPr>
            <a:lvl4pPr marL="266693" indent="0">
              <a:buNone/>
              <a:defRPr sz="1000"/>
            </a:lvl4pPr>
            <a:lvl5pPr marL="360353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5647C692-E63D-49B1-87FE-EBCEE07743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2487" y="2481944"/>
            <a:ext cx="1363345" cy="1755647"/>
          </a:xfrm>
          <a:solidFill>
            <a:schemeClr val="accent3"/>
          </a:solidFill>
        </p:spPr>
        <p:txBody>
          <a:bodyPr lIns="180000" tIns="144000" rIns="180000" bIns="144000">
            <a:normAutofit/>
          </a:bodyPr>
          <a:lstStyle>
            <a:lvl1pPr marL="0" indent="0">
              <a:buNone/>
              <a:defRPr sz="1000"/>
            </a:lvl1pPr>
            <a:lvl2pPr marL="87311" indent="0">
              <a:buNone/>
              <a:defRPr sz="1000"/>
            </a:lvl2pPr>
            <a:lvl3pPr marL="179383" indent="0">
              <a:buNone/>
              <a:defRPr sz="1000"/>
            </a:lvl3pPr>
            <a:lvl4pPr marL="266693" indent="0">
              <a:buNone/>
              <a:defRPr sz="1000"/>
            </a:lvl4pPr>
            <a:lvl5pPr marL="360353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93A47FA5-323D-4520-BD12-CAE3891837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99198" y="2481944"/>
            <a:ext cx="1363345" cy="1755647"/>
          </a:xfrm>
          <a:solidFill>
            <a:schemeClr val="accent3"/>
          </a:solidFill>
        </p:spPr>
        <p:txBody>
          <a:bodyPr lIns="180000" tIns="144000" rIns="180000" bIns="144000">
            <a:normAutofit/>
          </a:bodyPr>
          <a:lstStyle>
            <a:lvl1pPr marL="0" indent="0">
              <a:buNone/>
              <a:defRPr sz="1000"/>
            </a:lvl1pPr>
            <a:lvl2pPr marL="87311" indent="0">
              <a:buNone/>
              <a:defRPr sz="1000"/>
            </a:lvl2pPr>
            <a:lvl3pPr marL="179383" indent="0">
              <a:buNone/>
              <a:defRPr sz="1000"/>
            </a:lvl3pPr>
            <a:lvl4pPr marL="266693" indent="0">
              <a:buNone/>
              <a:defRPr sz="1000"/>
            </a:lvl4pPr>
            <a:lvl5pPr marL="360353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5F8C725A-89A3-4153-BB30-F09829AE080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485910" y="2481944"/>
            <a:ext cx="1363345" cy="1755647"/>
          </a:xfrm>
          <a:solidFill>
            <a:schemeClr val="accent3"/>
          </a:solidFill>
        </p:spPr>
        <p:txBody>
          <a:bodyPr lIns="180000" tIns="144000" rIns="180000" bIns="144000">
            <a:normAutofit/>
          </a:bodyPr>
          <a:lstStyle>
            <a:lvl1pPr marL="0" indent="0">
              <a:buNone/>
              <a:defRPr sz="1000"/>
            </a:lvl1pPr>
            <a:lvl2pPr marL="87311" indent="0">
              <a:buNone/>
              <a:defRPr sz="1000"/>
            </a:lvl2pPr>
            <a:lvl3pPr marL="179383" indent="0">
              <a:buNone/>
              <a:defRPr sz="1000"/>
            </a:lvl3pPr>
            <a:lvl4pPr marL="266693" indent="0">
              <a:buNone/>
              <a:defRPr sz="1000"/>
            </a:lvl4pPr>
            <a:lvl5pPr marL="360353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0607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703">
          <p15:clr>
            <a:srgbClr val="FBAE40"/>
          </p15:clr>
        </p15:guide>
        <p15:guide id="6" pos="1906">
          <p15:clr>
            <a:srgbClr val="FBAE40"/>
          </p15:clr>
        </p15:guide>
        <p15:guide id="8" pos="4641">
          <p15:clr>
            <a:srgbClr val="FBAE40"/>
          </p15:clr>
        </p15:guide>
        <p15:guide id="9" pos="2765">
          <p15:clr>
            <a:srgbClr val="FBAE40"/>
          </p15:clr>
        </p15:guide>
        <p15:guide id="10" pos="2841">
          <p15:clr>
            <a:srgbClr val="FBAE40"/>
          </p15:clr>
        </p15:guide>
        <p15:guide id="11" pos="4713">
          <p15:clr>
            <a:srgbClr val="FBAE40"/>
          </p15:clr>
        </p15:guide>
        <p15:guide id="12" pos="3779">
          <p15:clr>
            <a:srgbClr val="FBAE40"/>
          </p15:clr>
        </p15:guide>
        <p15:guide id="13" pos="1837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nd picture">
    <p:bg>
      <p:bgPr>
        <a:solidFill>
          <a:schemeClr val="tx2">
            <a:alpha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aphic 19">
            <a:extLst>
              <a:ext uri="{FF2B5EF4-FFF2-40B4-BE49-F238E27FC236}">
                <a16:creationId xmlns:a16="http://schemas.microsoft.com/office/drawing/2014/main" id="{F9A4D9FD-CBA9-40AA-91C5-801F8F4B35E1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E1DCD5"/>
          </a:solidFill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FC5F8EEE-2027-46C3-82D5-D3E0B524B20A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D5E5DA65-E88D-4B8F-BDD0-D371EBFBC062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33BBA3BA-AF69-4109-AA0F-4A6BECA6C90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70480C05-4466-41F2-B953-A8E8FB25A334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4C14D13C-4832-499F-8903-ABB1786FF8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59C48CD1-6002-431D-B38B-08CFDB1A89EA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1B6BBB8E-0F04-4150-97B3-5404F99AFE74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A09964C1-6BBC-4245-B301-D30808802003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6D3991D-A712-44FA-89EB-7BDFB0DB4FE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5C6A05A4-5020-4952-82E3-51EC5D635195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6EC34952-04E0-420A-8BE3-831FB2616BFB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848EA399-3B88-4CA8-9D1A-293A2C3CD3BB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5B2ED039-0F80-4B51-AC5E-256F8FA436D2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A2667AFB-8508-4465-8CA5-6800BBB37E51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5421509-60E5-4A51-A352-5F4A3F8613A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D821F839-D929-4109-AA3A-3155D7A176F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414D6F91-D12D-4D3E-812A-BEBB42E63C46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D715EF96-BBC6-42A2-86B6-AC60005BD88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6900032B-B9B7-4593-AF87-A68F29EB641E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1043F203-4F1E-4B31-AA26-28D0D288B046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59" name="Picture Placeholder 58">
            <a:extLst>
              <a:ext uri="{FF2B5EF4-FFF2-40B4-BE49-F238E27FC236}">
                <a16:creationId xmlns:a16="http://schemas.microsoft.com/office/drawing/2014/main" id="{5AB387F6-333B-46D5-8551-80AE0CFDA72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347256 w 9144000"/>
              <a:gd name="connsiteY0" fmla="*/ 4985347 h 5143500"/>
              <a:gd name="connsiteX1" fmla="*/ 342841 w 9144000"/>
              <a:gd name="connsiteY1" fmla="*/ 4989763 h 5143500"/>
              <a:gd name="connsiteX2" fmla="*/ 347256 w 9144000"/>
              <a:gd name="connsiteY2" fmla="*/ 4994178 h 5143500"/>
              <a:gd name="connsiteX3" fmla="*/ 351671 w 9144000"/>
              <a:gd name="connsiteY3" fmla="*/ 4989762 h 5143500"/>
              <a:gd name="connsiteX4" fmla="*/ 351671 w 9144000"/>
              <a:gd name="connsiteY4" fmla="*/ 4989714 h 5143500"/>
              <a:gd name="connsiteX5" fmla="*/ 347304 w 9144000"/>
              <a:gd name="connsiteY5" fmla="*/ 4985347 h 5143500"/>
              <a:gd name="connsiteX6" fmla="*/ 347256 w 9144000"/>
              <a:gd name="connsiteY6" fmla="*/ 4985347 h 5143500"/>
              <a:gd name="connsiteX7" fmla="*/ 335514 w 9144000"/>
              <a:gd name="connsiteY7" fmla="*/ 4984571 h 5143500"/>
              <a:gd name="connsiteX8" fmla="*/ 330371 w 9144000"/>
              <a:gd name="connsiteY8" fmla="*/ 4989714 h 5143500"/>
              <a:gd name="connsiteX9" fmla="*/ 335514 w 9144000"/>
              <a:gd name="connsiteY9" fmla="*/ 4994857 h 5143500"/>
              <a:gd name="connsiteX10" fmla="*/ 340657 w 9144000"/>
              <a:gd name="connsiteY10" fmla="*/ 4989714 h 5143500"/>
              <a:gd name="connsiteX11" fmla="*/ 335514 w 9144000"/>
              <a:gd name="connsiteY11" fmla="*/ 4984571 h 5143500"/>
              <a:gd name="connsiteX12" fmla="*/ 358998 w 9144000"/>
              <a:gd name="connsiteY12" fmla="*/ 4972829 h 5143500"/>
              <a:gd name="connsiteX13" fmla="*/ 353855 w 9144000"/>
              <a:gd name="connsiteY13" fmla="*/ 4977972 h 5143500"/>
              <a:gd name="connsiteX14" fmla="*/ 358998 w 9144000"/>
              <a:gd name="connsiteY14" fmla="*/ 4983115 h 5143500"/>
              <a:gd name="connsiteX15" fmla="*/ 364141 w 9144000"/>
              <a:gd name="connsiteY15" fmla="*/ 4977972 h 5143500"/>
              <a:gd name="connsiteX16" fmla="*/ 358998 w 9144000"/>
              <a:gd name="connsiteY16" fmla="*/ 4972829 h 5143500"/>
              <a:gd name="connsiteX17" fmla="*/ 335514 w 9144000"/>
              <a:gd name="connsiteY17" fmla="*/ 4972102 h 5143500"/>
              <a:gd name="connsiteX18" fmla="*/ 329791 w 9144000"/>
              <a:gd name="connsiteY18" fmla="*/ 4978117 h 5143500"/>
              <a:gd name="connsiteX19" fmla="*/ 335805 w 9144000"/>
              <a:gd name="connsiteY19" fmla="*/ 4983840 h 5143500"/>
              <a:gd name="connsiteX20" fmla="*/ 341459 w 9144000"/>
              <a:gd name="connsiteY20" fmla="*/ 4978047 h 5143500"/>
              <a:gd name="connsiteX21" fmla="*/ 347256 w 9144000"/>
              <a:gd name="connsiteY21" fmla="*/ 4983844 h 5143500"/>
              <a:gd name="connsiteX22" fmla="*/ 353127 w 9144000"/>
              <a:gd name="connsiteY22" fmla="*/ 4977973 h 5143500"/>
              <a:gd name="connsiteX23" fmla="*/ 347256 w 9144000"/>
              <a:gd name="connsiteY23" fmla="*/ 4972102 h 5143500"/>
              <a:gd name="connsiteX24" fmla="*/ 341458 w 9144000"/>
              <a:gd name="connsiteY24" fmla="*/ 4977900 h 5143500"/>
              <a:gd name="connsiteX25" fmla="*/ 335660 w 9144000"/>
              <a:gd name="connsiteY25" fmla="*/ 4972102 h 5143500"/>
              <a:gd name="connsiteX26" fmla="*/ 370642 w 9144000"/>
              <a:gd name="connsiteY26" fmla="*/ 4961961 h 5143500"/>
              <a:gd name="connsiteX27" fmla="*/ 366227 w 9144000"/>
              <a:gd name="connsiteY27" fmla="*/ 4966376 h 5143500"/>
              <a:gd name="connsiteX28" fmla="*/ 370642 w 9144000"/>
              <a:gd name="connsiteY28" fmla="*/ 4970792 h 5143500"/>
              <a:gd name="connsiteX29" fmla="*/ 375057 w 9144000"/>
              <a:gd name="connsiteY29" fmla="*/ 4966376 h 5143500"/>
              <a:gd name="connsiteX30" fmla="*/ 370642 w 9144000"/>
              <a:gd name="connsiteY30" fmla="*/ 4961961 h 5143500"/>
              <a:gd name="connsiteX31" fmla="*/ 370643 w 9144000"/>
              <a:gd name="connsiteY31" fmla="*/ 4949297 h 5143500"/>
              <a:gd name="connsiteX32" fmla="*/ 365500 w 9144000"/>
              <a:gd name="connsiteY32" fmla="*/ 4954440 h 5143500"/>
              <a:gd name="connsiteX33" fmla="*/ 370643 w 9144000"/>
              <a:gd name="connsiteY33" fmla="*/ 4959583 h 5143500"/>
              <a:gd name="connsiteX34" fmla="*/ 375786 w 9144000"/>
              <a:gd name="connsiteY34" fmla="*/ 4954440 h 5143500"/>
              <a:gd name="connsiteX35" fmla="*/ 370643 w 9144000"/>
              <a:gd name="connsiteY35" fmla="*/ 4949297 h 5143500"/>
              <a:gd name="connsiteX36" fmla="*/ 358998 w 9144000"/>
              <a:gd name="connsiteY36" fmla="*/ 4948521 h 5143500"/>
              <a:gd name="connsiteX37" fmla="*/ 353079 w 9144000"/>
              <a:gd name="connsiteY37" fmla="*/ 4954440 h 5143500"/>
              <a:gd name="connsiteX38" fmla="*/ 358998 w 9144000"/>
              <a:gd name="connsiteY38" fmla="*/ 4960360 h 5143500"/>
              <a:gd name="connsiteX39" fmla="*/ 353127 w 9144000"/>
              <a:gd name="connsiteY39" fmla="*/ 4966231 h 5143500"/>
              <a:gd name="connsiteX40" fmla="*/ 358998 w 9144000"/>
              <a:gd name="connsiteY40" fmla="*/ 4972199 h 5143500"/>
              <a:gd name="connsiteX41" fmla="*/ 364965 w 9144000"/>
              <a:gd name="connsiteY41" fmla="*/ 4966328 h 5143500"/>
              <a:gd name="connsiteX42" fmla="*/ 359094 w 9144000"/>
              <a:gd name="connsiteY42" fmla="*/ 4960360 h 5143500"/>
              <a:gd name="connsiteX43" fmla="*/ 358998 w 9144000"/>
              <a:gd name="connsiteY43" fmla="*/ 4960360 h 5143500"/>
              <a:gd name="connsiteX44" fmla="*/ 364918 w 9144000"/>
              <a:gd name="connsiteY44" fmla="*/ 4954440 h 5143500"/>
              <a:gd name="connsiteX45" fmla="*/ 358998 w 9144000"/>
              <a:gd name="connsiteY45" fmla="*/ 4948521 h 5143500"/>
              <a:gd name="connsiteX46" fmla="*/ 625032 w 9144000"/>
              <a:gd name="connsiteY46" fmla="*/ 4939788 h 5143500"/>
              <a:gd name="connsiteX47" fmla="*/ 650020 w 9144000"/>
              <a:gd name="connsiteY47" fmla="*/ 4939788 h 5143500"/>
              <a:gd name="connsiteX48" fmla="*/ 650020 w 9144000"/>
              <a:gd name="connsiteY48" fmla="*/ 4948570 h 5143500"/>
              <a:gd name="connsiteX49" fmla="*/ 625032 w 9144000"/>
              <a:gd name="connsiteY49" fmla="*/ 4948570 h 5143500"/>
              <a:gd name="connsiteX50" fmla="*/ 487090 w 9144000"/>
              <a:gd name="connsiteY50" fmla="*/ 4939788 h 5143500"/>
              <a:gd name="connsiteX51" fmla="*/ 512078 w 9144000"/>
              <a:gd name="connsiteY51" fmla="*/ 4939788 h 5143500"/>
              <a:gd name="connsiteX52" fmla="*/ 511884 w 9144000"/>
              <a:gd name="connsiteY52" fmla="*/ 4948570 h 5143500"/>
              <a:gd name="connsiteX53" fmla="*/ 487090 w 9144000"/>
              <a:gd name="connsiteY53" fmla="*/ 4948570 h 5143500"/>
              <a:gd name="connsiteX54" fmla="*/ 573602 w 9144000"/>
              <a:gd name="connsiteY54" fmla="*/ 4939738 h 5143500"/>
              <a:gd name="connsiteX55" fmla="*/ 600045 w 9144000"/>
              <a:gd name="connsiteY55" fmla="*/ 4939738 h 5143500"/>
              <a:gd name="connsiteX56" fmla="*/ 600045 w 9144000"/>
              <a:gd name="connsiteY56" fmla="*/ 4966230 h 5143500"/>
              <a:gd name="connsiteX57" fmla="*/ 573602 w 9144000"/>
              <a:gd name="connsiteY57" fmla="*/ 4966230 h 5143500"/>
              <a:gd name="connsiteX58" fmla="*/ 737502 w 9144000"/>
              <a:gd name="connsiteY58" fmla="*/ 4930957 h 5143500"/>
              <a:gd name="connsiteX59" fmla="*/ 745556 w 9144000"/>
              <a:gd name="connsiteY59" fmla="*/ 4963271 h 5143500"/>
              <a:gd name="connsiteX60" fmla="*/ 757395 w 9144000"/>
              <a:gd name="connsiteY60" fmla="*/ 4975790 h 5143500"/>
              <a:gd name="connsiteX61" fmla="*/ 761713 w 9144000"/>
              <a:gd name="connsiteY61" fmla="*/ 4975790 h 5143500"/>
              <a:gd name="connsiteX62" fmla="*/ 761713 w 9144000"/>
              <a:gd name="connsiteY62" fmla="*/ 4985494 h 5143500"/>
              <a:gd name="connsiteX63" fmla="*/ 745556 w 9144000"/>
              <a:gd name="connsiteY63" fmla="*/ 4985494 h 5143500"/>
              <a:gd name="connsiteX64" fmla="*/ 745556 w 9144000"/>
              <a:gd name="connsiteY64" fmla="*/ 4994276 h 5143500"/>
              <a:gd name="connsiteX65" fmla="*/ 748516 w 9144000"/>
              <a:gd name="connsiteY65" fmla="*/ 4994276 h 5143500"/>
              <a:gd name="connsiteX66" fmla="*/ 770544 w 9144000"/>
              <a:gd name="connsiteY66" fmla="*/ 4978119 h 5143500"/>
              <a:gd name="connsiteX67" fmla="*/ 782286 w 9144000"/>
              <a:gd name="connsiteY67" fmla="*/ 4931103 h 5143500"/>
              <a:gd name="connsiteX68" fmla="*/ 771999 w 9144000"/>
              <a:gd name="connsiteY68" fmla="*/ 4930957 h 5143500"/>
              <a:gd name="connsiteX69" fmla="*/ 765401 w 9144000"/>
              <a:gd name="connsiteY69" fmla="*/ 4966231 h 5143500"/>
              <a:gd name="connsiteX70" fmla="*/ 754387 w 9144000"/>
              <a:gd name="connsiteY70" fmla="*/ 4966231 h 5143500"/>
              <a:gd name="connsiteX71" fmla="*/ 747788 w 9144000"/>
              <a:gd name="connsiteY71" fmla="*/ 4930957 h 5143500"/>
              <a:gd name="connsiteX72" fmla="*/ 730855 w 9144000"/>
              <a:gd name="connsiteY72" fmla="*/ 4930957 h 5143500"/>
              <a:gd name="connsiteX73" fmla="*/ 708885 w 9144000"/>
              <a:gd name="connsiteY73" fmla="*/ 4949820 h 5143500"/>
              <a:gd name="connsiteX74" fmla="*/ 708827 w 9144000"/>
              <a:gd name="connsiteY74" fmla="*/ 4951530 h 5143500"/>
              <a:gd name="connsiteX75" fmla="*/ 708827 w 9144000"/>
              <a:gd name="connsiteY75" fmla="*/ 4966086 h 5143500"/>
              <a:gd name="connsiteX76" fmla="*/ 702956 w 9144000"/>
              <a:gd name="connsiteY76" fmla="*/ 4966086 h 5143500"/>
              <a:gd name="connsiteX77" fmla="*/ 702956 w 9144000"/>
              <a:gd name="connsiteY77" fmla="*/ 4974916 h 5143500"/>
              <a:gd name="connsiteX78" fmla="*/ 733814 w 9144000"/>
              <a:gd name="connsiteY78" fmla="*/ 4974916 h 5143500"/>
              <a:gd name="connsiteX79" fmla="*/ 733814 w 9144000"/>
              <a:gd name="connsiteY79" fmla="*/ 4966086 h 5143500"/>
              <a:gd name="connsiteX80" fmla="*/ 717657 w 9144000"/>
              <a:gd name="connsiteY80" fmla="*/ 4966086 h 5143500"/>
              <a:gd name="connsiteX81" fmla="*/ 717657 w 9144000"/>
              <a:gd name="connsiteY81" fmla="*/ 4939788 h 5143500"/>
              <a:gd name="connsiteX82" fmla="*/ 730855 w 9144000"/>
              <a:gd name="connsiteY82" fmla="*/ 4939788 h 5143500"/>
              <a:gd name="connsiteX83" fmla="*/ 661180 w 9144000"/>
              <a:gd name="connsiteY83" fmla="*/ 4930957 h 5143500"/>
              <a:gd name="connsiteX84" fmla="*/ 670010 w 9144000"/>
              <a:gd name="connsiteY84" fmla="*/ 4964921 h 5143500"/>
              <a:gd name="connsiteX85" fmla="*/ 683256 w 9144000"/>
              <a:gd name="connsiteY85" fmla="*/ 4975984 h 5143500"/>
              <a:gd name="connsiteX86" fmla="*/ 696454 w 9144000"/>
              <a:gd name="connsiteY86" fmla="*/ 4964921 h 5143500"/>
              <a:gd name="connsiteX87" fmla="*/ 705284 w 9144000"/>
              <a:gd name="connsiteY87" fmla="*/ 4930957 h 5143500"/>
              <a:gd name="connsiteX88" fmla="*/ 694853 w 9144000"/>
              <a:gd name="connsiteY88" fmla="*/ 4930957 h 5143500"/>
              <a:gd name="connsiteX89" fmla="*/ 687526 w 9144000"/>
              <a:gd name="connsiteY89" fmla="*/ 4966231 h 5143500"/>
              <a:gd name="connsiteX90" fmla="*/ 678695 w 9144000"/>
              <a:gd name="connsiteY90" fmla="*/ 4966231 h 5143500"/>
              <a:gd name="connsiteX91" fmla="*/ 671466 w 9144000"/>
              <a:gd name="connsiteY91" fmla="*/ 4930957 h 5143500"/>
              <a:gd name="connsiteX92" fmla="*/ 445655 w 9144000"/>
              <a:gd name="connsiteY92" fmla="*/ 4930957 h 5143500"/>
              <a:gd name="connsiteX93" fmla="*/ 445655 w 9144000"/>
              <a:gd name="connsiteY93" fmla="*/ 4939739 h 5143500"/>
              <a:gd name="connsiteX94" fmla="*/ 458852 w 9144000"/>
              <a:gd name="connsiteY94" fmla="*/ 4939739 h 5143500"/>
              <a:gd name="connsiteX95" fmla="*/ 458852 w 9144000"/>
              <a:gd name="connsiteY95" fmla="*/ 4966231 h 5143500"/>
              <a:gd name="connsiteX96" fmla="*/ 450070 w 9144000"/>
              <a:gd name="connsiteY96" fmla="*/ 4966231 h 5143500"/>
              <a:gd name="connsiteX97" fmla="*/ 450070 w 9144000"/>
              <a:gd name="connsiteY97" fmla="*/ 4975013 h 5143500"/>
              <a:gd name="connsiteX98" fmla="*/ 476513 w 9144000"/>
              <a:gd name="connsiteY98" fmla="*/ 4975013 h 5143500"/>
              <a:gd name="connsiteX99" fmla="*/ 476513 w 9144000"/>
              <a:gd name="connsiteY99" fmla="*/ 4966231 h 5143500"/>
              <a:gd name="connsiteX100" fmla="*/ 467683 w 9144000"/>
              <a:gd name="connsiteY100" fmla="*/ 4966231 h 5143500"/>
              <a:gd name="connsiteX101" fmla="*/ 467683 w 9144000"/>
              <a:gd name="connsiteY101" fmla="*/ 4952257 h 5143500"/>
              <a:gd name="connsiteX102" fmla="*/ 445655 w 9144000"/>
              <a:gd name="connsiteY102" fmla="*/ 4930957 h 5143500"/>
              <a:gd name="connsiteX103" fmla="*/ 586848 w 9144000"/>
              <a:gd name="connsiteY103" fmla="*/ 4930228 h 5143500"/>
              <a:gd name="connsiteX104" fmla="*/ 563995 w 9144000"/>
              <a:gd name="connsiteY104" fmla="*/ 4952984 h 5143500"/>
              <a:gd name="connsiteX105" fmla="*/ 586751 w 9144000"/>
              <a:gd name="connsiteY105" fmla="*/ 4975837 h 5143500"/>
              <a:gd name="connsiteX106" fmla="*/ 609603 w 9144000"/>
              <a:gd name="connsiteY106" fmla="*/ 4953081 h 5143500"/>
              <a:gd name="connsiteX107" fmla="*/ 609603 w 9144000"/>
              <a:gd name="connsiteY107" fmla="*/ 4952984 h 5143500"/>
              <a:gd name="connsiteX108" fmla="*/ 587829 w 9144000"/>
              <a:gd name="connsiteY108" fmla="*/ 4930228 h 5143500"/>
              <a:gd name="connsiteX109" fmla="*/ 586848 w 9144000"/>
              <a:gd name="connsiteY109" fmla="*/ 4930228 h 5143500"/>
              <a:gd name="connsiteX110" fmla="*/ 500054 w 9144000"/>
              <a:gd name="connsiteY110" fmla="*/ 4930221 h 5143500"/>
              <a:gd name="connsiteX111" fmla="*/ 499560 w 9144000"/>
              <a:gd name="connsiteY111" fmla="*/ 4930229 h 5143500"/>
              <a:gd name="connsiteX112" fmla="*/ 499366 w 9144000"/>
              <a:gd name="connsiteY112" fmla="*/ 4930229 h 5143500"/>
              <a:gd name="connsiteX113" fmla="*/ 476619 w 9144000"/>
              <a:gd name="connsiteY113" fmla="*/ 4951714 h 5143500"/>
              <a:gd name="connsiteX114" fmla="*/ 476610 w 9144000"/>
              <a:gd name="connsiteY114" fmla="*/ 4952257 h 5143500"/>
              <a:gd name="connsiteX115" fmla="*/ 498638 w 9144000"/>
              <a:gd name="connsiteY115" fmla="*/ 4975013 h 5143500"/>
              <a:gd name="connsiteX116" fmla="*/ 517755 w 9144000"/>
              <a:gd name="connsiteY116" fmla="*/ 4975013 h 5143500"/>
              <a:gd name="connsiteX117" fmla="*/ 517755 w 9144000"/>
              <a:gd name="connsiteY117" fmla="*/ 4966231 h 5143500"/>
              <a:gd name="connsiteX118" fmla="*/ 487090 w 9144000"/>
              <a:gd name="connsiteY118" fmla="*/ 4966231 h 5143500"/>
              <a:gd name="connsiteX119" fmla="*/ 487090 w 9144000"/>
              <a:gd name="connsiteY119" fmla="*/ 4957400 h 5143500"/>
              <a:gd name="connsiteX120" fmla="*/ 522364 w 9144000"/>
              <a:gd name="connsiteY120" fmla="*/ 4957400 h 5143500"/>
              <a:gd name="connsiteX121" fmla="*/ 522364 w 9144000"/>
              <a:gd name="connsiteY121" fmla="*/ 4952257 h 5143500"/>
              <a:gd name="connsiteX122" fmla="*/ 500054 w 9144000"/>
              <a:gd name="connsiteY122" fmla="*/ 4930221 h 5143500"/>
              <a:gd name="connsiteX123" fmla="*/ 638045 w 9144000"/>
              <a:gd name="connsiteY123" fmla="*/ 4930220 h 5143500"/>
              <a:gd name="connsiteX124" fmla="*/ 637502 w 9144000"/>
              <a:gd name="connsiteY124" fmla="*/ 4930229 h 5143500"/>
              <a:gd name="connsiteX125" fmla="*/ 614706 w 9144000"/>
              <a:gd name="connsiteY125" fmla="*/ 4951763 h 5143500"/>
              <a:gd name="connsiteX126" fmla="*/ 614698 w 9144000"/>
              <a:gd name="connsiteY126" fmla="*/ 4952257 h 5143500"/>
              <a:gd name="connsiteX127" fmla="*/ 636774 w 9144000"/>
              <a:gd name="connsiteY127" fmla="*/ 4975013 h 5143500"/>
              <a:gd name="connsiteX128" fmla="*/ 655843 w 9144000"/>
              <a:gd name="connsiteY128" fmla="*/ 4975013 h 5143500"/>
              <a:gd name="connsiteX129" fmla="*/ 655843 w 9144000"/>
              <a:gd name="connsiteY129" fmla="*/ 4966231 h 5143500"/>
              <a:gd name="connsiteX130" fmla="*/ 624984 w 9144000"/>
              <a:gd name="connsiteY130" fmla="*/ 4966231 h 5143500"/>
              <a:gd name="connsiteX131" fmla="*/ 624984 w 9144000"/>
              <a:gd name="connsiteY131" fmla="*/ 4957400 h 5143500"/>
              <a:gd name="connsiteX132" fmla="*/ 660258 w 9144000"/>
              <a:gd name="connsiteY132" fmla="*/ 4957400 h 5143500"/>
              <a:gd name="connsiteX133" fmla="*/ 660258 w 9144000"/>
              <a:gd name="connsiteY133" fmla="*/ 4952257 h 5143500"/>
              <a:gd name="connsiteX134" fmla="*/ 638045 w 9144000"/>
              <a:gd name="connsiteY134" fmla="*/ 4930220 h 5143500"/>
              <a:gd name="connsiteX135" fmla="*/ 459046 w 9144000"/>
              <a:gd name="connsiteY135" fmla="*/ 4915139 h 5143500"/>
              <a:gd name="connsiteX136" fmla="*/ 452739 w 9144000"/>
              <a:gd name="connsiteY136" fmla="*/ 4921350 h 5143500"/>
              <a:gd name="connsiteX137" fmla="*/ 452739 w 9144000"/>
              <a:gd name="connsiteY137" fmla="*/ 4921398 h 5143500"/>
              <a:gd name="connsiteX138" fmla="*/ 458949 w 9144000"/>
              <a:gd name="connsiteY138" fmla="*/ 4927657 h 5143500"/>
              <a:gd name="connsiteX139" fmla="*/ 465257 w 9144000"/>
              <a:gd name="connsiteY139" fmla="*/ 4921447 h 5143500"/>
              <a:gd name="connsiteX140" fmla="*/ 459046 w 9144000"/>
              <a:gd name="connsiteY140" fmla="*/ 4915139 h 5143500"/>
              <a:gd name="connsiteX141" fmla="*/ 318127 w 9144000"/>
              <a:gd name="connsiteY141" fmla="*/ 4913726 h 5143500"/>
              <a:gd name="connsiteX142" fmla="*/ 318127 w 9144000"/>
              <a:gd name="connsiteY142" fmla="*/ 4925468 h 5143500"/>
              <a:gd name="connsiteX143" fmla="*/ 306337 w 9144000"/>
              <a:gd name="connsiteY143" fmla="*/ 4925468 h 5143500"/>
              <a:gd name="connsiteX144" fmla="*/ 306337 w 9144000"/>
              <a:gd name="connsiteY144" fmla="*/ 4937258 h 5143500"/>
              <a:gd name="connsiteX145" fmla="*/ 294595 w 9144000"/>
              <a:gd name="connsiteY145" fmla="*/ 4937258 h 5143500"/>
              <a:gd name="connsiteX146" fmla="*/ 294595 w 9144000"/>
              <a:gd name="connsiteY146" fmla="*/ 4949000 h 5143500"/>
              <a:gd name="connsiteX147" fmla="*/ 294595 w 9144000"/>
              <a:gd name="connsiteY147" fmla="*/ 4960742 h 5143500"/>
              <a:gd name="connsiteX148" fmla="*/ 306337 w 9144000"/>
              <a:gd name="connsiteY148" fmla="*/ 4960742 h 5143500"/>
              <a:gd name="connsiteX149" fmla="*/ 318127 w 9144000"/>
              <a:gd name="connsiteY149" fmla="*/ 4960742 h 5143500"/>
              <a:gd name="connsiteX150" fmla="*/ 318127 w 9144000"/>
              <a:gd name="connsiteY150" fmla="*/ 4949000 h 5143500"/>
              <a:gd name="connsiteX151" fmla="*/ 318127 w 9144000"/>
              <a:gd name="connsiteY151" fmla="*/ 4937258 h 5143500"/>
              <a:gd name="connsiteX152" fmla="*/ 329869 w 9144000"/>
              <a:gd name="connsiteY152" fmla="*/ 4937258 h 5143500"/>
              <a:gd name="connsiteX153" fmla="*/ 341611 w 9144000"/>
              <a:gd name="connsiteY153" fmla="*/ 4937258 h 5143500"/>
              <a:gd name="connsiteX154" fmla="*/ 341611 w 9144000"/>
              <a:gd name="connsiteY154" fmla="*/ 4925468 h 5143500"/>
              <a:gd name="connsiteX155" fmla="*/ 341611 w 9144000"/>
              <a:gd name="connsiteY155" fmla="*/ 4913726 h 5143500"/>
              <a:gd name="connsiteX156" fmla="*/ 329869 w 9144000"/>
              <a:gd name="connsiteY156" fmla="*/ 4913726 h 5143500"/>
              <a:gd name="connsiteX157" fmla="*/ 533912 w 9144000"/>
              <a:gd name="connsiteY157" fmla="*/ 4913441 h 5143500"/>
              <a:gd name="connsiteX158" fmla="*/ 533912 w 9144000"/>
              <a:gd name="connsiteY158" fmla="*/ 4931102 h 5143500"/>
              <a:gd name="connsiteX159" fmla="*/ 523626 w 9144000"/>
              <a:gd name="connsiteY159" fmla="*/ 4931102 h 5143500"/>
              <a:gd name="connsiteX160" fmla="*/ 523626 w 9144000"/>
              <a:gd name="connsiteY160" fmla="*/ 4939933 h 5143500"/>
              <a:gd name="connsiteX161" fmla="*/ 533912 w 9144000"/>
              <a:gd name="connsiteY161" fmla="*/ 4939933 h 5143500"/>
              <a:gd name="connsiteX162" fmla="*/ 533912 w 9144000"/>
              <a:gd name="connsiteY162" fmla="*/ 4953858 h 5143500"/>
              <a:gd name="connsiteX163" fmla="*/ 555212 w 9144000"/>
              <a:gd name="connsiteY163" fmla="*/ 4975207 h 5143500"/>
              <a:gd name="connsiteX164" fmla="*/ 561859 w 9144000"/>
              <a:gd name="connsiteY164" fmla="*/ 4975207 h 5143500"/>
              <a:gd name="connsiteX165" fmla="*/ 561859 w 9144000"/>
              <a:gd name="connsiteY165" fmla="*/ 4966376 h 5143500"/>
              <a:gd name="connsiteX166" fmla="*/ 542743 w 9144000"/>
              <a:gd name="connsiteY166" fmla="*/ 4966376 h 5143500"/>
              <a:gd name="connsiteX167" fmla="*/ 542743 w 9144000"/>
              <a:gd name="connsiteY167" fmla="*/ 4939787 h 5143500"/>
              <a:gd name="connsiteX168" fmla="*/ 557299 w 9144000"/>
              <a:gd name="connsiteY168" fmla="*/ 4939787 h 5143500"/>
              <a:gd name="connsiteX169" fmla="*/ 557299 w 9144000"/>
              <a:gd name="connsiteY169" fmla="*/ 4930957 h 5143500"/>
              <a:gd name="connsiteX170" fmla="*/ 542743 w 9144000"/>
              <a:gd name="connsiteY170" fmla="*/ 4930957 h 5143500"/>
              <a:gd name="connsiteX171" fmla="*/ 542743 w 9144000"/>
              <a:gd name="connsiteY171" fmla="*/ 4913441 h 5143500"/>
              <a:gd name="connsiteX172" fmla="*/ 416348 w 9144000"/>
              <a:gd name="connsiteY172" fmla="*/ 4913441 h 5143500"/>
              <a:gd name="connsiteX173" fmla="*/ 416348 w 9144000"/>
              <a:gd name="connsiteY173" fmla="*/ 4931102 h 5143500"/>
              <a:gd name="connsiteX174" fmla="*/ 406062 w 9144000"/>
              <a:gd name="connsiteY174" fmla="*/ 4931102 h 5143500"/>
              <a:gd name="connsiteX175" fmla="*/ 406062 w 9144000"/>
              <a:gd name="connsiteY175" fmla="*/ 4939933 h 5143500"/>
              <a:gd name="connsiteX176" fmla="*/ 416348 w 9144000"/>
              <a:gd name="connsiteY176" fmla="*/ 4939933 h 5143500"/>
              <a:gd name="connsiteX177" fmla="*/ 416348 w 9144000"/>
              <a:gd name="connsiteY177" fmla="*/ 4953130 h 5143500"/>
              <a:gd name="connsiteX178" fmla="*/ 437648 w 9144000"/>
              <a:gd name="connsiteY178" fmla="*/ 4975207 h 5143500"/>
              <a:gd name="connsiteX179" fmla="*/ 441336 w 9144000"/>
              <a:gd name="connsiteY179" fmla="*/ 4975207 h 5143500"/>
              <a:gd name="connsiteX180" fmla="*/ 441336 w 9144000"/>
              <a:gd name="connsiteY180" fmla="*/ 4966376 h 5143500"/>
              <a:gd name="connsiteX181" fmla="*/ 425179 w 9144000"/>
              <a:gd name="connsiteY181" fmla="*/ 4966376 h 5143500"/>
              <a:gd name="connsiteX182" fmla="*/ 425179 w 9144000"/>
              <a:gd name="connsiteY182" fmla="*/ 4939787 h 5143500"/>
              <a:gd name="connsiteX183" fmla="*/ 436920 w 9144000"/>
              <a:gd name="connsiteY183" fmla="*/ 4939787 h 5143500"/>
              <a:gd name="connsiteX184" fmla="*/ 436920 w 9144000"/>
              <a:gd name="connsiteY184" fmla="*/ 4930957 h 5143500"/>
              <a:gd name="connsiteX185" fmla="*/ 425179 w 9144000"/>
              <a:gd name="connsiteY185" fmla="*/ 4930957 h 5143500"/>
              <a:gd name="connsiteX186" fmla="*/ 425179 w 9144000"/>
              <a:gd name="connsiteY186" fmla="*/ 4913441 h 5143500"/>
              <a:gd name="connsiteX187" fmla="*/ 0 w 9144000"/>
              <a:gd name="connsiteY187" fmla="*/ 0 h 5143500"/>
              <a:gd name="connsiteX188" fmla="*/ 9144000 w 9144000"/>
              <a:gd name="connsiteY188" fmla="*/ 0 h 5143500"/>
              <a:gd name="connsiteX189" fmla="*/ 9144000 w 9144000"/>
              <a:gd name="connsiteY189" fmla="*/ 5143500 h 5143500"/>
              <a:gd name="connsiteX190" fmla="*/ 0 w 9144000"/>
              <a:gd name="connsiteY190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</a:cxnLst>
            <a:rect l="l" t="t" r="r" b="b"/>
            <a:pathLst>
              <a:path w="9144000" h="5143500">
                <a:moveTo>
                  <a:pt x="347256" y="4985347"/>
                </a:moveTo>
                <a:cubicBezTo>
                  <a:pt x="344817" y="4985347"/>
                  <a:pt x="342841" y="4987324"/>
                  <a:pt x="342841" y="4989763"/>
                </a:cubicBezTo>
                <a:cubicBezTo>
                  <a:pt x="342841" y="4992202"/>
                  <a:pt x="344818" y="4994178"/>
                  <a:pt x="347256" y="4994178"/>
                </a:cubicBezTo>
                <a:cubicBezTo>
                  <a:pt x="349695" y="4994178"/>
                  <a:pt x="351671" y="4992201"/>
                  <a:pt x="351671" y="4989762"/>
                </a:cubicBezTo>
                <a:cubicBezTo>
                  <a:pt x="351671" y="4989746"/>
                  <a:pt x="351671" y="4989730"/>
                  <a:pt x="351671" y="4989714"/>
                </a:cubicBezTo>
                <a:cubicBezTo>
                  <a:pt x="351671" y="4987302"/>
                  <a:pt x="349716" y="4985347"/>
                  <a:pt x="347304" y="4985347"/>
                </a:cubicBezTo>
                <a:cubicBezTo>
                  <a:pt x="347288" y="4985347"/>
                  <a:pt x="347272" y="4985347"/>
                  <a:pt x="347256" y="4985347"/>
                </a:cubicBezTo>
                <a:close/>
                <a:moveTo>
                  <a:pt x="335514" y="4984571"/>
                </a:moveTo>
                <a:cubicBezTo>
                  <a:pt x="332673" y="4984571"/>
                  <a:pt x="330371" y="4986874"/>
                  <a:pt x="330371" y="4989714"/>
                </a:cubicBezTo>
                <a:cubicBezTo>
                  <a:pt x="330371" y="4992555"/>
                  <a:pt x="332673" y="4994857"/>
                  <a:pt x="335514" y="4994857"/>
                </a:cubicBezTo>
                <a:cubicBezTo>
                  <a:pt x="338354" y="4994857"/>
                  <a:pt x="340657" y="4992555"/>
                  <a:pt x="340657" y="4989714"/>
                </a:cubicBezTo>
                <a:cubicBezTo>
                  <a:pt x="340657" y="4986874"/>
                  <a:pt x="338354" y="4984571"/>
                  <a:pt x="335514" y="4984571"/>
                </a:cubicBezTo>
                <a:close/>
                <a:moveTo>
                  <a:pt x="358998" y="4972829"/>
                </a:moveTo>
                <a:cubicBezTo>
                  <a:pt x="356157" y="4972829"/>
                  <a:pt x="353855" y="4975132"/>
                  <a:pt x="353855" y="4977972"/>
                </a:cubicBezTo>
                <a:cubicBezTo>
                  <a:pt x="353855" y="4980813"/>
                  <a:pt x="356157" y="4983115"/>
                  <a:pt x="358998" y="4983115"/>
                </a:cubicBezTo>
                <a:cubicBezTo>
                  <a:pt x="361838" y="4983115"/>
                  <a:pt x="364141" y="4980813"/>
                  <a:pt x="364141" y="4977972"/>
                </a:cubicBezTo>
                <a:cubicBezTo>
                  <a:pt x="364141" y="4975132"/>
                  <a:pt x="361838" y="4972829"/>
                  <a:pt x="358998" y="4972829"/>
                </a:cubicBezTo>
                <a:close/>
                <a:moveTo>
                  <a:pt x="335514" y="4972102"/>
                </a:moveTo>
                <a:cubicBezTo>
                  <a:pt x="332273" y="4972182"/>
                  <a:pt x="329710" y="4974875"/>
                  <a:pt x="329791" y="4978117"/>
                </a:cubicBezTo>
                <a:cubicBezTo>
                  <a:pt x="329871" y="4981358"/>
                  <a:pt x="332564" y="4983921"/>
                  <a:pt x="335805" y="4983840"/>
                </a:cubicBezTo>
                <a:lnTo>
                  <a:pt x="341459" y="4978047"/>
                </a:lnTo>
                <a:lnTo>
                  <a:pt x="347256" y="4983844"/>
                </a:lnTo>
                <a:cubicBezTo>
                  <a:pt x="350498" y="4983844"/>
                  <a:pt x="353127" y="4981215"/>
                  <a:pt x="353127" y="4977973"/>
                </a:cubicBezTo>
                <a:cubicBezTo>
                  <a:pt x="353127" y="4974730"/>
                  <a:pt x="350498" y="4972102"/>
                  <a:pt x="347256" y="4972102"/>
                </a:cubicBezTo>
                <a:lnTo>
                  <a:pt x="341458" y="4977900"/>
                </a:lnTo>
                <a:lnTo>
                  <a:pt x="335660" y="4972102"/>
                </a:lnTo>
                <a:close/>
                <a:moveTo>
                  <a:pt x="370642" y="4961961"/>
                </a:moveTo>
                <a:cubicBezTo>
                  <a:pt x="368204" y="4961961"/>
                  <a:pt x="366227" y="4963938"/>
                  <a:pt x="366227" y="4966376"/>
                </a:cubicBezTo>
                <a:cubicBezTo>
                  <a:pt x="366227" y="4968815"/>
                  <a:pt x="368204" y="4970792"/>
                  <a:pt x="370642" y="4970792"/>
                </a:cubicBezTo>
                <a:cubicBezTo>
                  <a:pt x="373081" y="4970792"/>
                  <a:pt x="375057" y="4968815"/>
                  <a:pt x="375057" y="4966376"/>
                </a:cubicBezTo>
                <a:cubicBezTo>
                  <a:pt x="375057" y="4963938"/>
                  <a:pt x="373081" y="4961961"/>
                  <a:pt x="370642" y="4961961"/>
                </a:cubicBezTo>
                <a:close/>
                <a:moveTo>
                  <a:pt x="370643" y="4949297"/>
                </a:moveTo>
                <a:cubicBezTo>
                  <a:pt x="367802" y="4949297"/>
                  <a:pt x="365500" y="4951600"/>
                  <a:pt x="365500" y="4954440"/>
                </a:cubicBezTo>
                <a:cubicBezTo>
                  <a:pt x="365500" y="4957281"/>
                  <a:pt x="367802" y="4959583"/>
                  <a:pt x="370643" y="4959583"/>
                </a:cubicBezTo>
                <a:cubicBezTo>
                  <a:pt x="373483" y="4959583"/>
                  <a:pt x="375786" y="4957281"/>
                  <a:pt x="375786" y="4954440"/>
                </a:cubicBezTo>
                <a:cubicBezTo>
                  <a:pt x="375786" y="4951600"/>
                  <a:pt x="373483" y="4949297"/>
                  <a:pt x="370643" y="4949297"/>
                </a:cubicBezTo>
                <a:close/>
                <a:moveTo>
                  <a:pt x="358998" y="4948521"/>
                </a:moveTo>
                <a:cubicBezTo>
                  <a:pt x="355729" y="4948521"/>
                  <a:pt x="353079" y="4951171"/>
                  <a:pt x="353079" y="4954440"/>
                </a:cubicBezTo>
                <a:cubicBezTo>
                  <a:pt x="353079" y="4957710"/>
                  <a:pt x="355729" y="4960360"/>
                  <a:pt x="358998" y="4960360"/>
                </a:cubicBezTo>
                <a:cubicBezTo>
                  <a:pt x="355755" y="4960360"/>
                  <a:pt x="353127" y="4962989"/>
                  <a:pt x="353127" y="4966231"/>
                </a:cubicBezTo>
                <a:cubicBezTo>
                  <a:pt x="353100" y="4969500"/>
                  <a:pt x="355729" y="4972172"/>
                  <a:pt x="358998" y="4972199"/>
                </a:cubicBezTo>
                <a:cubicBezTo>
                  <a:pt x="362267" y="4972225"/>
                  <a:pt x="364939" y="4969597"/>
                  <a:pt x="364965" y="4966328"/>
                </a:cubicBezTo>
                <a:cubicBezTo>
                  <a:pt x="364992" y="4963059"/>
                  <a:pt x="362364" y="4960387"/>
                  <a:pt x="359094" y="4960360"/>
                </a:cubicBezTo>
                <a:cubicBezTo>
                  <a:pt x="359062" y="4960360"/>
                  <a:pt x="359030" y="4960360"/>
                  <a:pt x="358998" y="4960360"/>
                </a:cubicBezTo>
                <a:cubicBezTo>
                  <a:pt x="362267" y="4960360"/>
                  <a:pt x="364918" y="4957710"/>
                  <a:pt x="364918" y="4954440"/>
                </a:cubicBezTo>
                <a:cubicBezTo>
                  <a:pt x="364918" y="4951171"/>
                  <a:pt x="362267" y="4948521"/>
                  <a:pt x="358998" y="4948521"/>
                </a:cubicBezTo>
                <a:close/>
                <a:moveTo>
                  <a:pt x="625032" y="4939788"/>
                </a:moveTo>
                <a:lnTo>
                  <a:pt x="650020" y="4939788"/>
                </a:lnTo>
                <a:lnTo>
                  <a:pt x="650020" y="4948570"/>
                </a:lnTo>
                <a:lnTo>
                  <a:pt x="625032" y="4948570"/>
                </a:lnTo>
                <a:close/>
                <a:moveTo>
                  <a:pt x="487090" y="4939788"/>
                </a:moveTo>
                <a:lnTo>
                  <a:pt x="512078" y="4939788"/>
                </a:lnTo>
                <a:lnTo>
                  <a:pt x="511884" y="4948570"/>
                </a:lnTo>
                <a:lnTo>
                  <a:pt x="487090" y="4948570"/>
                </a:lnTo>
                <a:close/>
                <a:moveTo>
                  <a:pt x="573602" y="4939738"/>
                </a:moveTo>
                <a:lnTo>
                  <a:pt x="600045" y="4939738"/>
                </a:lnTo>
                <a:lnTo>
                  <a:pt x="600045" y="4966230"/>
                </a:lnTo>
                <a:lnTo>
                  <a:pt x="573602" y="4966230"/>
                </a:lnTo>
                <a:close/>
                <a:moveTo>
                  <a:pt x="737502" y="4930957"/>
                </a:moveTo>
                <a:cubicBezTo>
                  <a:pt x="737502" y="4930957"/>
                  <a:pt x="744197" y="4957740"/>
                  <a:pt x="745556" y="4963271"/>
                </a:cubicBezTo>
                <a:cubicBezTo>
                  <a:pt x="746915" y="4968803"/>
                  <a:pt x="750020" y="4975790"/>
                  <a:pt x="757395" y="4975790"/>
                </a:cubicBezTo>
                <a:lnTo>
                  <a:pt x="761713" y="4975790"/>
                </a:lnTo>
                <a:lnTo>
                  <a:pt x="761713" y="4985494"/>
                </a:lnTo>
                <a:lnTo>
                  <a:pt x="745556" y="4985494"/>
                </a:lnTo>
                <a:lnTo>
                  <a:pt x="745556" y="4994276"/>
                </a:lnTo>
                <a:lnTo>
                  <a:pt x="748516" y="4994276"/>
                </a:lnTo>
                <a:cubicBezTo>
                  <a:pt x="758603" y="4994291"/>
                  <a:pt x="767528" y="4987745"/>
                  <a:pt x="770544" y="4978119"/>
                </a:cubicBezTo>
                <a:cubicBezTo>
                  <a:pt x="772630" y="4969822"/>
                  <a:pt x="782286" y="4931103"/>
                  <a:pt x="782286" y="4931103"/>
                </a:cubicBezTo>
                <a:lnTo>
                  <a:pt x="771999" y="4930957"/>
                </a:lnTo>
                <a:lnTo>
                  <a:pt x="765401" y="4966231"/>
                </a:lnTo>
                <a:lnTo>
                  <a:pt x="754387" y="4966231"/>
                </a:lnTo>
                <a:lnTo>
                  <a:pt x="747788" y="4930957"/>
                </a:lnTo>
                <a:close/>
                <a:moveTo>
                  <a:pt x="730855" y="4930957"/>
                </a:moveTo>
                <a:cubicBezTo>
                  <a:pt x="719579" y="4930099"/>
                  <a:pt x="709743" y="4938544"/>
                  <a:pt x="708885" y="4949820"/>
                </a:cubicBezTo>
                <a:cubicBezTo>
                  <a:pt x="708842" y="4950389"/>
                  <a:pt x="708822" y="4950959"/>
                  <a:pt x="708827" y="4951530"/>
                </a:cubicBezTo>
                <a:lnTo>
                  <a:pt x="708827" y="4966086"/>
                </a:lnTo>
                <a:lnTo>
                  <a:pt x="702956" y="4966086"/>
                </a:lnTo>
                <a:lnTo>
                  <a:pt x="702956" y="4974916"/>
                </a:lnTo>
                <a:lnTo>
                  <a:pt x="733814" y="4974916"/>
                </a:lnTo>
                <a:lnTo>
                  <a:pt x="733814" y="4966086"/>
                </a:lnTo>
                <a:lnTo>
                  <a:pt x="717657" y="4966086"/>
                </a:lnTo>
                <a:lnTo>
                  <a:pt x="717657" y="4939788"/>
                </a:lnTo>
                <a:lnTo>
                  <a:pt x="730855" y="4939788"/>
                </a:lnTo>
                <a:close/>
                <a:moveTo>
                  <a:pt x="661180" y="4930957"/>
                </a:moveTo>
                <a:cubicBezTo>
                  <a:pt x="661180" y="4930957"/>
                  <a:pt x="667681" y="4955945"/>
                  <a:pt x="670010" y="4964921"/>
                </a:cubicBezTo>
                <a:cubicBezTo>
                  <a:pt x="670841" y="4971512"/>
                  <a:pt x="676623" y="4976341"/>
                  <a:pt x="683256" y="4975984"/>
                </a:cubicBezTo>
                <a:cubicBezTo>
                  <a:pt x="690534" y="4975984"/>
                  <a:pt x="694270" y="4973752"/>
                  <a:pt x="696454" y="4964921"/>
                </a:cubicBezTo>
                <a:cubicBezTo>
                  <a:pt x="698637" y="4956091"/>
                  <a:pt x="705284" y="4930957"/>
                  <a:pt x="705284" y="4930957"/>
                </a:cubicBezTo>
                <a:lnTo>
                  <a:pt x="694853" y="4930957"/>
                </a:lnTo>
                <a:lnTo>
                  <a:pt x="687526" y="4966231"/>
                </a:lnTo>
                <a:lnTo>
                  <a:pt x="678695" y="4966231"/>
                </a:lnTo>
                <a:lnTo>
                  <a:pt x="671466" y="4930957"/>
                </a:lnTo>
                <a:close/>
                <a:moveTo>
                  <a:pt x="445655" y="4930957"/>
                </a:moveTo>
                <a:lnTo>
                  <a:pt x="445655" y="4939739"/>
                </a:lnTo>
                <a:lnTo>
                  <a:pt x="458852" y="4939739"/>
                </a:lnTo>
                <a:lnTo>
                  <a:pt x="458852" y="4966231"/>
                </a:lnTo>
                <a:lnTo>
                  <a:pt x="450070" y="4966231"/>
                </a:lnTo>
                <a:lnTo>
                  <a:pt x="450070" y="4975013"/>
                </a:lnTo>
                <a:lnTo>
                  <a:pt x="476513" y="4975013"/>
                </a:lnTo>
                <a:lnTo>
                  <a:pt x="476513" y="4966231"/>
                </a:lnTo>
                <a:lnTo>
                  <a:pt x="467683" y="4966231"/>
                </a:lnTo>
                <a:lnTo>
                  <a:pt x="467683" y="4952257"/>
                </a:lnTo>
                <a:cubicBezTo>
                  <a:pt x="467683" y="4938672"/>
                  <a:pt x="458852" y="4930957"/>
                  <a:pt x="445655" y="4930957"/>
                </a:cubicBezTo>
                <a:close/>
                <a:moveTo>
                  <a:pt x="586848" y="4930228"/>
                </a:moveTo>
                <a:cubicBezTo>
                  <a:pt x="574253" y="4930202"/>
                  <a:pt x="564022" y="4940390"/>
                  <a:pt x="563995" y="4952984"/>
                </a:cubicBezTo>
                <a:cubicBezTo>
                  <a:pt x="563968" y="4965579"/>
                  <a:pt x="574156" y="4975810"/>
                  <a:pt x="586751" y="4975837"/>
                </a:cubicBezTo>
                <a:cubicBezTo>
                  <a:pt x="599345" y="4975864"/>
                  <a:pt x="609577" y="4965676"/>
                  <a:pt x="609603" y="4953081"/>
                </a:cubicBezTo>
                <a:cubicBezTo>
                  <a:pt x="609603" y="4953049"/>
                  <a:pt x="609603" y="4953017"/>
                  <a:pt x="609603" y="4952984"/>
                </a:cubicBezTo>
                <a:cubicBezTo>
                  <a:pt x="609874" y="4940688"/>
                  <a:pt x="600126" y="4930499"/>
                  <a:pt x="587829" y="4930228"/>
                </a:cubicBezTo>
                <a:cubicBezTo>
                  <a:pt x="587502" y="4930221"/>
                  <a:pt x="587175" y="4930221"/>
                  <a:pt x="586848" y="4930228"/>
                </a:cubicBezTo>
                <a:close/>
                <a:moveTo>
                  <a:pt x="500054" y="4930221"/>
                </a:moveTo>
                <a:cubicBezTo>
                  <a:pt x="499889" y="4930222"/>
                  <a:pt x="499724" y="4930224"/>
                  <a:pt x="499560" y="4930229"/>
                </a:cubicBezTo>
                <a:lnTo>
                  <a:pt x="499366" y="4930229"/>
                </a:lnTo>
                <a:cubicBezTo>
                  <a:pt x="487151" y="4929881"/>
                  <a:pt x="476967" y="4939500"/>
                  <a:pt x="476619" y="4951714"/>
                </a:cubicBezTo>
                <a:cubicBezTo>
                  <a:pt x="476613" y="4951895"/>
                  <a:pt x="476610" y="4952076"/>
                  <a:pt x="476610" y="4952257"/>
                </a:cubicBezTo>
                <a:cubicBezTo>
                  <a:pt x="476604" y="4964546"/>
                  <a:pt x="486355" y="4974620"/>
                  <a:pt x="498638" y="4975013"/>
                </a:cubicBezTo>
                <a:lnTo>
                  <a:pt x="517755" y="4975013"/>
                </a:lnTo>
                <a:lnTo>
                  <a:pt x="517755" y="4966231"/>
                </a:lnTo>
                <a:lnTo>
                  <a:pt x="487090" y="4966231"/>
                </a:lnTo>
                <a:lnTo>
                  <a:pt x="487090" y="4957400"/>
                </a:lnTo>
                <a:lnTo>
                  <a:pt x="522364" y="4957400"/>
                </a:lnTo>
                <a:lnTo>
                  <a:pt x="522364" y="4952257"/>
                </a:lnTo>
                <a:cubicBezTo>
                  <a:pt x="522289" y="4940011"/>
                  <a:pt x="512300" y="4930145"/>
                  <a:pt x="500054" y="4930221"/>
                </a:cubicBezTo>
                <a:close/>
                <a:moveTo>
                  <a:pt x="638045" y="4930220"/>
                </a:moveTo>
                <a:cubicBezTo>
                  <a:pt x="637864" y="4930221"/>
                  <a:pt x="637683" y="4930224"/>
                  <a:pt x="637502" y="4930229"/>
                </a:cubicBezTo>
                <a:cubicBezTo>
                  <a:pt x="625261" y="4929881"/>
                  <a:pt x="615055" y="4939521"/>
                  <a:pt x="614706" y="4951763"/>
                </a:cubicBezTo>
                <a:cubicBezTo>
                  <a:pt x="614702" y="4951927"/>
                  <a:pt x="614699" y="4952092"/>
                  <a:pt x="614698" y="4952257"/>
                </a:cubicBezTo>
                <a:cubicBezTo>
                  <a:pt x="614692" y="4964564"/>
                  <a:pt x="624473" y="4974646"/>
                  <a:pt x="636774" y="4975013"/>
                </a:cubicBezTo>
                <a:lnTo>
                  <a:pt x="655843" y="4975013"/>
                </a:lnTo>
                <a:lnTo>
                  <a:pt x="655843" y="4966231"/>
                </a:lnTo>
                <a:lnTo>
                  <a:pt x="624984" y="4966231"/>
                </a:lnTo>
                <a:lnTo>
                  <a:pt x="624984" y="4957400"/>
                </a:lnTo>
                <a:lnTo>
                  <a:pt x="660258" y="4957400"/>
                </a:lnTo>
                <a:lnTo>
                  <a:pt x="660258" y="4952257"/>
                </a:lnTo>
                <a:cubicBezTo>
                  <a:pt x="660209" y="4940038"/>
                  <a:pt x="650264" y="4930172"/>
                  <a:pt x="638045" y="4930220"/>
                </a:cubicBezTo>
                <a:close/>
                <a:moveTo>
                  <a:pt x="459046" y="4915139"/>
                </a:moveTo>
                <a:cubicBezTo>
                  <a:pt x="455590" y="4915112"/>
                  <a:pt x="452766" y="4917893"/>
                  <a:pt x="452739" y="4921350"/>
                </a:cubicBezTo>
                <a:cubicBezTo>
                  <a:pt x="452739" y="4921366"/>
                  <a:pt x="452739" y="4921382"/>
                  <a:pt x="452739" y="4921398"/>
                </a:cubicBezTo>
                <a:cubicBezTo>
                  <a:pt x="452739" y="4924836"/>
                  <a:pt x="455511" y="4927630"/>
                  <a:pt x="458949" y="4927657"/>
                </a:cubicBezTo>
                <a:cubicBezTo>
                  <a:pt x="462406" y="4927684"/>
                  <a:pt x="465230" y="4924903"/>
                  <a:pt x="465257" y="4921447"/>
                </a:cubicBezTo>
                <a:cubicBezTo>
                  <a:pt x="465283" y="4917990"/>
                  <a:pt x="462503" y="4915166"/>
                  <a:pt x="459046" y="4915139"/>
                </a:cubicBezTo>
                <a:close/>
                <a:moveTo>
                  <a:pt x="318127" y="4913726"/>
                </a:moveTo>
                <a:lnTo>
                  <a:pt x="318127" y="4925468"/>
                </a:lnTo>
                <a:lnTo>
                  <a:pt x="306337" y="4925468"/>
                </a:lnTo>
                <a:lnTo>
                  <a:pt x="306337" y="4937258"/>
                </a:lnTo>
                <a:lnTo>
                  <a:pt x="294595" y="4937258"/>
                </a:lnTo>
                <a:lnTo>
                  <a:pt x="294595" y="4949000"/>
                </a:lnTo>
                <a:lnTo>
                  <a:pt x="294595" y="4960742"/>
                </a:lnTo>
                <a:lnTo>
                  <a:pt x="306337" y="4960742"/>
                </a:lnTo>
                <a:lnTo>
                  <a:pt x="318127" y="4960742"/>
                </a:lnTo>
                <a:lnTo>
                  <a:pt x="318127" y="4949000"/>
                </a:lnTo>
                <a:lnTo>
                  <a:pt x="318127" y="4937258"/>
                </a:lnTo>
                <a:lnTo>
                  <a:pt x="329869" y="4937258"/>
                </a:lnTo>
                <a:lnTo>
                  <a:pt x="341611" y="4937258"/>
                </a:lnTo>
                <a:lnTo>
                  <a:pt x="341611" y="4925468"/>
                </a:lnTo>
                <a:lnTo>
                  <a:pt x="341611" y="4913726"/>
                </a:lnTo>
                <a:lnTo>
                  <a:pt x="329869" y="4913726"/>
                </a:lnTo>
                <a:close/>
                <a:moveTo>
                  <a:pt x="533912" y="4913441"/>
                </a:moveTo>
                <a:lnTo>
                  <a:pt x="533912" y="4931102"/>
                </a:lnTo>
                <a:lnTo>
                  <a:pt x="523626" y="4931102"/>
                </a:lnTo>
                <a:lnTo>
                  <a:pt x="523626" y="4939933"/>
                </a:lnTo>
                <a:lnTo>
                  <a:pt x="533912" y="4939933"/>
                </a:lnTo>
                <a:lnTo>
                  <a:pt x="533912" y="4953858"/>
                </a:lnTo>
                <a:cubicBezTo>
                  <a:pt x="533912" y="4967104"/>
                  <a:pt x="540511" y="4975207"/>
                  <a:pt x="555212" y="4975207"/>
                </a:cubicBezTo>
                <a:lnTo>
                  <a:pt x="561859" y="4975207"/>
                </a:lnTo>
                <a:lnTo>
                  <a:pt x="561859" y="4966376"/>
                </a:lnTo>
                <a:lnTo>
                  <a:pt x="542743" y="4966376"/>
                </a:lnTo>
                <a:lnTo>
                  <a:pt x="542743" y="4939787"/>
                </a:lnTo>
                <a:lnTo>
                  <a:pt x="557299" y="4939787"/>
                </a:lnTo>
                <a:lnTo>
                  <a:pt x="557299" y="4930957"/>
                </a:lnTo>
                <a:lnTo>
                  <a:pt x="542743" y="4930957"/>
                </a:lnTo>
                <a:lnTo>
                  <a:pt x="542743" y="4913441"/>
                </a:lnTo>
                <a:close/>
                <a:moveTo>
                  <a:pt x="416348" y="4913441"/>
                </a:moveTo>
                <a:lnTo>
                  <a:pt x="416348" y="4931102"/>
                </a:lnTo>
                <a:lnTo>
                  <a:pt x="406062" y="4931102"/>
                </a:lnTo>
                <a:lnTo>
                  <a:pt x="406062" y="4939933"/>
                </a:lnTo>
                <a:lnTo>
                  <a:pt x="416348" y="4939933"/>
                </a:lnTo>
                <a:lnTo>
                  <a:pt x="416348" y="4953130"/>
                </a:lnTo>
                <a:cubicBezTo>
                  <a:pt x="416348" y="4966376"/>
                  <a:pt x="422947" y="4975207"/>
                  <a:pt x="437648" y="4975207"/>
                </a:cubicBezTo>
                <a:lnTo>
                  <a:pt x="441336" y="4975207"/>
                </a:lnTo>
                <a:lnTo>
                  <a:pt x="441336" y="4966376"/>
                </a:lnTo>
                <a:lnTo>
                  <a:pt x="425179" y="4966376"/>
                </a:lnTo>
                <a:lnTo>
                  <a:pt x="425179" y="4939787"/>
                </a:lnTo>
                <a:lnTo>
                  <a:pt x="436920" y="4939787"/>
                </a:lnTo>
                <a:lnTo>
                  <a:pt x="436920" y="4930957"/>
                </a:lnTo>
                <a:lnTo>
                  <a:pt x="425179" y="4930957"/>
                </a:lnTo>
                <a:lnTo>
                  <a:pt x="425179" y="4913441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287339" y="735014"/>
            <a:ext cx="3273091" cy="17931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d your quot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93DDC7-6347-4E7C-80D6-CA23706A068E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3829" y="231775"/>
            <a:ext cx="3276600" cy="365208"/>
          </a:xfrm>
        </p:spPr>
        <p:txBody>
          <a:bodyPr tIns="36000">
            <a:normAutofit/>
          </a:bodyPr>
          <a:lstStyle>
            <a:lvl1pPr marL="0" indent="0">
              <a:spcBef>
                <a:spcPts val="0"/>
              </a:spcBef>
              <a:buClr>
                <a:schemeClr val="accent6"/>
              </a:buClr>
              <a:buFont typeface="+mj-lt"/>
              <a:buNone/>
              <a:defRPr sz="1200">
                <a:solidFill>
                  <a:schemeClr val="accent6"/>
                </a:solidFill>
              </a:defRPr>
            </a:lvl1pPr>
            <a:lvl2pPr marL="234944" indent="0">
              <a:buClr>
                <a:schemeClr val="accent6"/>
              </a:buClr>
              <a:buFont typeface="+mj-lt"/>
              <a:buNone/>
              <a:defRPr>
                <a:solidFill>
                  <a:schemeClr val="bg1"/>
                </a:solidFill>
              </a:defRPr>
            </a:lvl2pPr>
            <a:lvl3pPr marL="587360" indent="-174621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768331" indent="-188909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946127" indent="-177796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intro text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DC43ACE-919E-4F14-B57A-476B078BDADC}"/>
              </a:ext>
            </a:extLst>
          </p:cNvPr>
          <p:cNvSpPr>
            <a:spLocks noGrp="1"/>
          </p:cNvSpPr>
          <p:nvPr userDrawn="1"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E1DCD5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8C85202-0B59-48F2-8674-991A71F862D0}"/>
              </a:ext>
            </a:extLst>
          </p:cNvPr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E1DCD5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C77536-C884-4A81-AE68-002872FF9735}"/>
              </a:ext>
            </a:extLst>
          </p:cNvPr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E1DCD5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0495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3" pos="4513">
          <p15:clr>
            <a:srgbClr val="FBAE40"/>
          </p15:clr>
        </p15:guide>
        <p15:guide id="4" pos="224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8" y="837147"/>
            <a:ext cx="4392923" cy="1882203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eakers nam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A3928A5-23A9-42AB-BE2A-254DDB2EE1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8" y="2719350"/>
            <a:ext cx="4392923" cy="1008000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rgbClr val="EACBBB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role title</a:t>
            </a:r>
            <a:endParaRPr lang="en-GB" dirty="0"/>
          </a:p>
        </p:txBody>
      </p:sp>
      <p:grpSp>
        <p:nvGrpSpPr>
          <p:cNvPr id="34" name="Graphic 19">
            <a:extLst>
              <a:ext uri="{FF2B5EF4-FFF2-40B4-BE49-F238E27FC236}">
                <a16:creationId xmlns:a16="http://schemas.microsoft.com/office/drawing/2014/main" id="{30CCF508-8A96-414E-9404-07DB1BC111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F07F829-F6FC-4DF2-90CA-7E0E05E129F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C99CDAA-6B26-4696-95A7-75B99CF0A8D5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49E2DEE-F59C-4F32-839F-23EF943860C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4FECE93-C406-440F-B693-95442BB2B39D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2779207-3649-4476-B022-010AD1C8527D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F519B0A-0299-483D-BAFF-7DB63D01CAF8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2CBB9F8-0686-4E84-A9E1-C36C0BFC789A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0F79D2-7F6D-4A6C-99C4-1197C1C96A4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25792C8-2B0A-4D38-8872-2BA9859CC20C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C6C7FB1-D6C2-4132-87FD-770849F63E7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A97DBC4-3087-4BF9-837F-611C44A4C982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A90523E-2EEF-4C47-8A8E-75151ECB51E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AF56317-AA4A-4D20-98E3-07A50B1DB919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9E2A8E1-D8EA-4D9A-BF79-BBC3C8319030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59C028A-6019-4F31-98BF-64BCC56D005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E578A76-37FF-465B-A2F8-022311982319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A3D30F8-66D8-42FE-A00A-CBC30A14DA93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47D2386-F1CE-4D5D-A178-537E05B7FAA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56E0BFB-980D-49F4-BE48-1D88A88AADB8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B7FACB1-263A-42DA-8964-252FBF1B7141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A9B3A4-EC1D-48FE-AA9D-498A39DEE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B2D188-24CD-4318-B9F6-CDB0F6DA71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7CCF62-5A96-461B-B8BA-E249CAEFF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ED1BA532-3110-40F8-A761-D6129FF3DF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15025" y="1050925"/>
            <a:ext cx="2524125" cy="33385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3769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1">
    <p:bg>
      <p:bgPr>
        <a:solidFill>
          <a:schemeClr val="bg2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3CBC1972-8065-4A53-B307-68AB4006EBA4}"/>
              </a:ext>
            </a:extLst>
          </p:cNvPr>
          <p:cNvSpPr/>
          <p:nvPr userDrawn="1"/>
        </p:nvSpPr>
        <p:spPr>
          <a:xfrm>
            <a:off x="4604362" y="0"/>
            <a:ext cx="4539638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1380D2C-E53A-487E-B484-96C822075E1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custGeom>
            <a:avLst/>
            <a:gdLst>
              <a:gd name="connsiteX0" fmla="*/ 137498 w 4572000"/>
              <a:gd name="connsiteY0" fmla="*/ 2070213 h 5143500"/>
              <a:gd name="connsiteX1" fmla="*/ 124631 w 4572000"/>
              <a:gd name="connsiteY1" fmla="*/ 2081770 h 5143500"/>
              <a:gd name="connsiteX2" fmla="*/ 124631 w 4572000"/>
              <a:gd name="connsiteY2" fmla="*/ 2081817 h 5143500"/>
              <a:gd name="connsiteX3" fmla="*/ 137158 w 4572000"/>
              <a:gd name="connsiteY3" fmla="*/ 2093986 h 5143500"/>
              <a:gd name="connsiteX4" fmla="*/ 149674 w 4572000"/>
              <a:gd name="connsiteY4" fmla="*/ 2082425 h 5143500"/>
              <a:gd name="connsiteX5" fmla="*/ 137498 w 4572000"/>
              <a:gd name="connsiteY5" fmla="*/ 2070213 h 5143500"/>
              <a:gd name="connsiteX6" fmla="*/ 137789 w 4572000"/>
              <a:gd name="connsiteY6" fmla="*/ 1765449 h 5143500"/>
              <a:gd name="connsiteX7" fmla="*/ 112056 w 4572000"/>
              <a:gd name="connsiteY7" fmla="*/ 1788657 h 5143500"/>
              <a:gd name="connsiteX8" fmla="*/ 112056 w 4572000"/>
              <a:gd name="connsiteY8" fmla="*/ 1788707 h 5143500"/>
              <a:gd name="connsiteX9" fmla="*/ 137157 w 4572000"/>
              <a:gd name="connsiteY9" fmla="*/ 1813090 h 5143500"/>
              <a:gd name="connsiteX10" fmla="*/ 162245 w 4572000"/>
              <a:gd name="connsiteY10" fmla="*/ 1789873 h 5143500"/>
              <a:gd name="connsiteX11" fmla="*/ 137789 w 4572000"/>
              <a:gd name="connsiteY11" fmla="*/ 1765449 h 5143500"/>
              <a:gd name="connsiteX12" fmla="*/ 137498 w 4572000"/>
              <a:gd name="connsiteY12" fmla="*/ 1484172 h 5143500"/>
              <a:gd name="connsiteX13" fmla="*/ 124631 w 4572000"/>
              <a:gd name="connsiteY13" fmla="*/ 1495729 h 5143500"/>
              <a:gd name="connsiteX14" fmla="*/ 124631 w 4572000"/>
              <a:gd name="connsiteY14" fmla="*/ 1495874 h 5143500"/>
              <a:gd name="connsiteX15" fmla="*/ 137157 w 4572000"/>
              <a:gd name="connsiteY15" fmla="*/ 1507945 h 5143500"/>
              <a:gd name="connsiteX16" fmla="*/ 149674 w 4572000"/>
              <a:gd name="connsiteY16" fmla="*/ 1496384 h 5143500"/>
              <a:gd name="connsiteX17" fmla="*/ 137498 w 4572000"/>
              <a:gd name="connsiteY17" fmla="*/ 1484172 h 5143500"/>
              <a:gd name="connsiteX18" fmla="*/ 137498 w 4572000"/>
              <a:gd name="connsiteY18" fmla="*/ 1191246 h 5143500"/>
              <a:gd name="connsiteX19" fmla="*/ 124631 w 4572000"/>
              <a:gd name="connsiteY19" fmla="*/ 1202803 h 5143500"/>
              <a:gd name="connsiteX20" fmla="*/ 124631 w 4572000"/>
              <a:gd name="connsiteY20" fmla="*/ 1202948 h 5143500"/>
              <a:gd name="connsiteX21" fmla="*/ 137157 w 4572000"/>
              <a:gd name="connsiteY21" fmla="*/ 1215019 h 5143500"/>
              <a:gd name="connsiteX22" fmla="*/ 149674 w 4572000"/>
              <a:gd name="connsiteY22" fmla="*/ 1203458 h 5143500"/>
              <a:gd name="connsiteX23" fmla="*/ 137498 w 4572000"/>
              <a:gd name="connsiteY23" fmla="*/ 1191246 h 5143500"/>
              <a:gd name="connsiteX24" fmla="*/ 137449 w 4572000"/>
              <a:gd name="connsiteY24" fmla="*/ 898320 h 5143500"/>
              <a:gd name="connsiteX25" fmla="*/ 124631 w 4572000"/>
              <a:gd name="connsiteY25" fmla="*/ 909924 h 5143500"/>
              <a:gd name="connsiteX26" fmla="*/ 137158 w 4572000"/>
              <a:gd name="connsiteY26" fmla="*/ 922093 h 5143500"/>
              <a:gd name="connsiteX27" fmla="*/ 149679 w 4572000"/>
              <a:gd name="connsiteY27" fmla="*/ 910486 h 5143500"/>
              <a:gd name="connsiteX28" fmla="*/ 137449 w 4572000"/>
              <a:gd name="connsiteY28" fmla="*/ 898320 h 5143500"/>
              <a:gd name="connsiteX29" fmla="*/ 137744 w 4572000"/>
              <a:gd name="connsiteY29" fmla="*/ 593738 h 5143500"/>
              <a:gd name="connsiteX30" fmla="*/ 112056 w 4572000"/>
              <a:gd name="connsiteY30" fmla="*/ 616998 h 5143500"/>
              <a:gd name="connsiteX31" fmla="*/ 137158 w 4572000"/>
              <a:gd name="connsiteY31" fmla="*/ 641384 h 5143500"/>
              <a:gd name="connsiteX32" fmla="*/ 162244 w 4572000"/>
              <a:gd name="connsiteY32" fmla="*/ 618121 h 5143500"/>
              <a:gd name="connsiteX33" fmla="*/ 137744 w 4572000"/>
              <a:gd name="connsiteY33" fmla="*/ 593738 h 5143500"/>
              <a:gd name="connsiteX34" fmla="*/ 137449 w 4572000"/>
              <a:gd name="connsiteY34" fmla="*/ 312467 h 5143500"/>
              <a:gd name="connsiteX35" fmla="*/ 124631 w 4572000"/>
              <a:gd name="connsiteY35" fmla="*/ 324071 h 5143500"/>
              <a:gd name="connsiteX36" fmla="*/ 137158 w 4572000"/>
              <a:gd name="connsiteY36" fmla="*/ 336240 h 5143500"/>
              <a:gd name="connsiteX37" fmla="*/ 149679 w 4572000"/>
              <a:gd name="connsiteY37" fmla="*/ 324633 h 5143500"/>
              <a:gd name="connsiteX38" fmla="*/ 137449 w 4572000"/>
              <a:gd name="connsiteY38" fmla="*/ 312467 h 5143500"/>
              <a:gd name="connsiteX39" fmla="*/ 0 w 4572000"/>
              <a:gd name="connsiteY39" fmla="*/ 0 h 5143500"/>
              <a:gd name="connsiteX40" fmla="*/ 4572000 w 4572000"/>
              <a:gd name="connsiteY40" fmla="*/ 0 h 5143500"/>
              <a:gd name="connsiteX41" fmla="*/ 4572000 w 4572000"/>
              <a:gd name="connsiteY41" fmla="*/ 5143500 h 5143500"/>
              <a:gd name="connsiteX42" fmla="*/ 0 w 4572000"/>
              <a:gd name="connsiteY4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4572000" h="5143500">
                <a:moveTo>
                  <a:pt x="137498" y="2070213"/>
                </a:moveTo>
                <a:cubicBezTo>
                  <a:pt x="130585" y="2070030"/>
                  <a:pt x="124824" y="2075207"/>
                  <a:pt x="124631" y="2081770"/>
                </a:cubicBezTo>
                <a:cubicBezTo>
                  <a:pt x="124631" y="2081784"/>
                  <a:pt x="124631" y="2081802"/>
                  <a:pt x="124631" y="2081817"/>
                </a:cubicBezTo>
                <a:cubicBezTo>
                  <a:pt x="124547" y="2088463"/>
                  <a:pt x="130161" y="2093912"/>
                  <a:pt x="137158" y="2093986"/>
                </a:cubicBezTo>
                <a:cubicBezTo>
                  <a:pt x="143939" y="2093982"/>
                  <a:pt x="149486" y="2088862"/>
                  <a:pt x="149674" y="2082425"/>
                </a:cubicBezTo>
                <a:cubicBezTo>
                  <a:pt x="149866" y="2075863"/>
                  <a:pt x="144413" y="2070395"/>
                  <a:pt x="137498" y="2070213"/>
                </a:cubicBezTo>
                <a:close/>
                <a:moveTo>
                  <a:pt x="137789" y="1765449"/>
                </a:moveTo>
                <a:cubicBezTo>
                  <a:pt x="123931" y="1765111"/>
                  <a:pt x="112411" y="1775503"/>
                  <a:pt x="112056" y="1788657"/>
                </a:cubicBezTo>
                <a:cubicBezTo>
                  <a:pt x="112056" y="1788675"/>
                  <a:pt x="112056" y="1788689"/>
                  <a:pt x="112056" y="1788707"/>
                </a:cubicBezTo>
                <a:cubicBezTo>
                  <a:pt x="111893" y="1802020"/>
                  <a:pt x="123132" y="1812936"/>
                  <a:pt x="137157" y="1813090"/>
                </a:cubicBezTo>
                <a:cubicBezTo>
                  <a:pt x="150769" y="1813086"/>
                  <a:pt x="161893" y="1802788"/>
                  <a:pt x="162245" y="1789873"/>
                </a:cubicBezTo>
                <a:cubicBezTo>
                  <a:pt x="162595" y="1776720"/>
                  <a:pt x="151651" y="1765781"/>
                  <a:pt x="137789" y="1765449"/>
                </a:cubicBezTo>
                <a:close/>
                <a:moveTo>
                  <a:pt x="137498" y="1484172"/>
                </a:moveTo>
                <a:cubicBezTo>
                  <a:pt x="130584" y="1483989"/>
                  <a:pt x="124823" y="1489166"/>
                  <a:pt x="124631" y="1495729"/>
                </a:cubicBezTo>
                <a:cubicBezTo>
                  <a:pt x="124631" y="1495776"/>
                  <a:pt x="124631" y="1495823"/>
                  <a:pt x="124631" y="1495874"/>
                </a:cubicBezTo>
                <a:cubicBezTo>
                  <a:pt x="124577" y="1502488"/>
                  <a:pt x="130184" y="1507895"/>
                  <a:pt x="137157" y="1507945"/>
                </a:cubicBezTo>
                <a:cubicBezTo>
                  <a:pt x="143938" y="1507941"/>
                  <a:pt x="149486" y="1502821"/>
                  <a:pt x="149674" y="1496384"/>
                </a:cubicBezTo>
                <a:cubicBezTo>
                  <a:pt x="149866" y="1489822"/>
                  <a:pt x="144412" y="1484354"/>
                  <a:pt x="137498" y="1484172"/>
                </a:cubicBezTo>
                <a:close/>
                <a:moveTo>
                  <a:pt x="137498" y="1191246"/>
                </a:moveTo>
                <a:cubicBezTo>
                  <a:pt x="130584" y="1191064"/>
                  <a:pt x="124823" y="1196240"/>
                  <a:pt x="124631" y="1202803"/>
                </a:cubicBezTo>
                <a:cubicBezTo>
                  <a:pt x="124631" y="1202850"/>
                  <a:pt x="124631" y="1202897"/>
                  <a:pt x="124631" y="1202948"/>
                </a:cubicBezTo>
                <a:cubicBezTo>
                  <a:pt x="124577" y="1209562"/>
                  <a:pt x="130184" y="1214969"/>
                  <a:pt x="137157" y="1215019"/>
                </a:cubicBezTo>
                <a:cubicBezTo>
                  <a:pt x="143938" y="1215015"/>
                  <a:pt x="149486" y="1209895"/>
                  <a:pt x="149674" y="1203458"/>
                </a:cubicBezTo>
                <a:cubicBezTo>
                  <a:pt x="149866" y="1196896"/>
                  <a:pt x="144412" y="1191428"/>
                  <a:pt x="137498" y="1191246"/>
                </a:cubicBezTo>
                <a:close/>
                <a:moveTo>
                  <a:pt x="137449" y="898320"/>
                </a:moveTo>
                <a:cubicBezTo>
                  <a:pt x="130535" y="898165"/>
                  <a:pt x="124795" y="903361"/>
                  <a:pt x="124631" y="909924"/>
                </a:cubicBezTo>
                <a:cubicBezTo>
                  <a:pt x="124552" y="916570"/>
                  <a:pt x="130161" y="922019"/>
                  <a:pt x="137158" y="922093"/>
                </a:cubicBezTo>
                <a:cubicBezTo>
                  <a:pt x="143959" y="922093"/>
                  <a:pt x="149516" y="916941"/>
                  <a:pt x="149679" y="910486"/>
                </a:cubicBezTo>
                <a:cubicBezTo>
                  <a:pt x="149841" y="903923"/>
                  <a:pt x="144367" y="898474"/>
                  <a:pt x="137449" y="898320"/>
                </a:cubicBezTo>
                <a:close/>
                <a:moveTo>
                  <a:pt x="137744" y="593738"/>
                </a:moveTo>
                <a:cubicBezTo>
                  <a:pt x="123881" y="593429"/>
                  <a:pt x="112381" y="603844"/>
                  <a:pt x="112056" y="616998"/>
                </a:cubicBezTo>
                <a:cubicBezTo>
                  <a:pt x="111918" y="630301"/>
                  <a:pt x="123142" y="641207"/>
                  <a:pt x="137158" y="641384"/>
                </a:cubicBezTo>
                <a:cubicBezTo>
                  <a:pt x="150789" y="641381"/>
                  <a:pt x="161924" y="631054"/>
                  <a:pt x="162244" y="618121"/>
                </a:cubicBezTo>
                <a:cubicBezTo>
                  <a:pt x="162570" y="604968"/>
                  <a:pt x="151602" y="594052"/>
                  <a:pt x="137744" y="593738"/>
                </a:cubicBezTo>
                <a:close/>
                <a:moveTo>
                  <a:pt x="137449" y="312467"/>
                </a:moveTo>
                <a:cubicBezTo>
                  <a:pt x="130535" y="312312"/>
                  <a:pt x="124795" y="317508"/>
                  <a:pt x="124631" y="324071"/>
                </a:cubicBezTo>
                <a:cubicBezTo>
                  <a:pt x="124552" y="330717"/>
                  <a:pt x="130161" y="336166"/>
                  <a:pt x="137158" y="336240"/>
                </a:cubicBezTo>
                <a:cubicBezTo>
                  <a:pt x="143959" y="336240"/>
                  <a:pt x="149516" y="331088"/>
                  <a:pt x="149679" y="324633"/>
                </a:cubicBezTo>
                <a:cubicBezTo>
                  <a:pt x="149841" y="318071"/>
                  <a:pt x="144367" y="312621"/>
                  <a:pt x="137449" y="312467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7" name="Dots">
            <a:extLst>
              <a:ext uri="{FF2B5EF4-FFF2-40B4-BE49-F238E27FC236}">
                <a16:creationId xmlns:a16="http://schemas.microsoft.com/office/drawing/2014/main" id="{EE9EFEE1-081D-43C2-B79D-9A03DAD0196F}"/>
              </a:ext>
            </a:extLst>
          </p:cNvPr>
          <p:cNvSpPr/>
          <p:nvPr userDrawn="1"/>
        </p:nvSpPr>
        <p:spPr>
          <a:xfrm rot="16200000">
            <a:off x="2916304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>
              <a:latin typeface="Arial" panose="020B0604020202020204" pitchFamily="34" charset="0"/>
            </a:endParaRPr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E1AED2E5-EACC-4379-8B86-BDCC33C414F2}"/>
              </a:ext>
            </a:extLst>
          </p:cNvPr>
          <p:cNvGrpSpPr/>
          <p:nvPr/>
        </p:nvGrpSpPr>
        <p:grpSpPr>
          <a:xfrm>
            <a:off x="571126" y="4482250"/>
            <a:ext cx="1535077" cy="256610"/>
            <a:chOff x="301852" y="4913727"/>
            <a:chExt cx="487916" cy="81562"/>
          </a:xfrm>
          <a:solidFill>
            <a:schemeClr val="tx2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2" y="231777"/>
            <a:ext cx="2824965" cy="2583344"/>
          </a:xfrm>
        </p:spPr>
        <p:txBody>
          <a:bodyPr anchor="b"/>
          <a:lstStyle>
            <a:lvl1pPr algn="l"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/>
              <a:t>Add text for example Thank you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2B055659-967E-4FB4-B761-219916CE0D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2" y="3890837"/>
            <a:ext cx="2705129" cy="365125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808080"/>
                </a:solidFill>
              </a:defRPr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US"/>
              <a:t>Click to add date and/or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3284499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1629A0C0-C4FA-4BD5-B2B6-6748A116A518}"/>
              </a:ext>
            </a:extLst>
          </p:cNvPr>
          <p:cNvSpPr/>
          <p:nvPr userDrawn="1"/>
        </p:nvSpPr>
        <p:spPr>
          <a:xfrm>
            <a:off x="4604362" y="0"/>
            <a:ext cx="4539638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1380D2C-E53A-487E-B484-96C822075E1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custGeom>
            <a:avLst/>
            <a:gdLst>
              <a:gd name="connsiteX0" fmla="*/ 137498 w 4572000"/>
              <a:gd name="connsiteY0" fmla="*/ 2070213 h 5143500"/>
              <a:gd name="connsiteX1" fmla="*/ 124631 w 4572000"/>
              <a:gd name="connsiteY1" fmla="*/ 2081770 h 5143500"/>
              <a:gd name="connsiteX2" fmla="*/ 124631 w 4572000"/>
              <a:gd name="connsiteY2" fmla="*/ 2081817 h 5143500"/>
              <a:gd name="connsiteX3" fmla="*/ 137158 w 4572000"/>
              <a:gd name="connsiteY3" fmla="*/ 2093986 h 5143500"/>
              <a:gd name="connsiteX4" fmla="*/ 149674 w 4572000"/>
              <a:gd name="connsiteY4" fmla="*/ 2082425 h 5143500"/>
              <a:gd name="connsiteX5" fmla="*/ 137498 w 4572000"/>
              <a:gd name="connsiteY5" fmla="*/ 2070213 h 5143500"/>
              <a:gd name="connsiteX6" fmla="*/ 137789 w 4572000"/>
              <a:gd name="connsiteY6" fmla="*/ 1765449 h 5143500"/>
              <a:gd name="connsiteX7" fmla="*/ 112056 w 4572000"/>
              <a:gd name="connsiteY7" fmla="*/ 1788657 h 5143500"/>
              <a:gd name="connsiteX8" fmla="*/ 112056 w 4572000"/>
              <a:gd name="connsiteY8" fmla="*/ 1788707 h 5143500"/>
              <a:gd name="connsiteX9" fmla="*/ 137157 w 4572000"/>
              <a:gd name="connsiteY9" fmla="*/ 1813090 h 5143500"/>
              <a:gd name="connsiteX10" fmla="*/ 162245 w 4572000"/>
              <a:gd name="connsiteY10" fmla="*/ 1789873 h 5143500"/>
              <a:gd name="connsiteX11" fmla="*/ 137789 w 4572000"/>
              <a:gd name="connsiteY11" fmla="*/ 1765449 h 5143500"/>
              <a:gd name="connsiteX12" fmla="*/ 137498 w 4572000"/>
              <a:gd name="connsiteY12" fmla="*/ 1484172 h 5143500"/>
              <a:gd name="connsiteX13" fmla="*/ 124631 w 4572000"/>
              <a:gd name="connsiteY13" fmla="*/ 1495729 h 5143500"/>
              <a:gd name="connsiteX14" fmla="*/ 124631 w 4572000"/>
              <a:gd name="connsiteY14" fmla="*/ 1495874 h 5143500"/>
              <a:gd name="connsiteX15" fmla="*/ 137157 w 4572000"/>
              <a:gd name="connsiteY15" fmla="*/ 1507945 h 5143500"/>
              <a:gd name="connsiteX16" fmla="*/ 149674 w 4572000"/>
              <a:gd name="connsiteY16" fmla="*/ 1496384 h 5143500"/>
              <a:gd name="connsiteX17" fmla="*/ 137498 w 4572000"/>
              <a:gd name="connsiteY17" fmla="*/ 1484172 h 5143500"/>
              <a:gd name="connsiteX18" fmla="*/ 137498 w 4572000"/>
              <a:gd name="connsiteY18" fmla="*/ 1191246 h 5143500"/>
              <a:gd name="connsiteX19" fmla="*/ 124631 w 4572000"/>
              <a:gd name="connsiteY19" fmla="*/ 1202803 h 5143500"/>
              <a:gd name="connsiteX20" fmla="*/ 124631 w 4572000"/>
              <a:gd name="connsiteY20" fmla="*/ 1202948 h 5143500"/>
              <a:gd name="connsiteX21" fmla="*/ 137157 w 4572000"/>
              <a:gd name="connsiteY21" fmla="*/ 1215019 h 5143500"/>
              <a:gd name="connsiteX22" fmla="*/ 149674 w 4572000"/>
              <a:gd name="connsiteY22" fmla="*/ 1203458 h 5143500"/>
              <a:gd name="connsiteX23" fmla="*/ 137498 w 4572000"/>
              <a:gd name="connsiteY23" fmla="*/ 1191246 h 5143500"/>
              <a:gd name="connsiteX24" fmla="*/ 137449 w 4572000"/>
              <a:gd name="connsiteY24" fmla="*/ 898320 h 5143500"/>
              <a:gd name="connsiteX25" fmla="*/ 124631 w 4572000"/>
              <a:gd name="connsiteY25" fmla="*/ 909924 h 5143500"/>
              <a:gd name="connsiteX26" fmla="*/ 137158 w 4572000"/>
              <a:gd name="connsiteY26" fmla="*/ 922093 h 5143500"/>
              <a:gd name="connsiteX27" fmla="*/ 149679 w 4572000"/>
              <a:gd name="connsiteY27" fmla="*/ 910486 h 5143500"/>
              <a:gd name="connsiteX28" fmla="*/ 137449 w 4572000"/>
              <a:gd name="connsiteY28" fmla="*/ 898320 h 5143500"/>
              <a:gd name="connsiteX29" fmla="*/ 137744 w 4572000"/>
              <a:gd name="connsiteY29" fmla="*/ 593738 h 5143500"/>
              <a:gd name="connsiteX30" fmla="*/ 112056 w 4572000"/>
              <a:gd name="connsiteY30" fmla="*/ 616998 h 5143500"/>
              <a:gd name="connsiteX31" fmla="*/ 137158 w 4572000"/>
              <a:gd name="connsiteY31" fmla="*/ 641384 h 5143500"/>
              <a:gd name="connsiteX32" fmla="*/ 162244 w 4572000"/>
              <a:gd name="connsiteY32" fmla="*/ 618121 h 5143500"/>
              <a:gd name="connsiteX33" fmla="*/ 137744 w 4572000"/>
              <a:gd name="connsiteY33" fmla="*/ 593738 h 5143500"/>
              <a:gd name="connsiteX34" fmla="*/ 137449 w 4572000"/>
              <a:gd name="connsiteY34" fmla="*/ 312467 h 5143500"/>
              <a:gd name="connsiteX35" fmla="*/ 124631 w 4572000"/>
              <a:gd name="connsiteY35" fmla="*/ 324071 h 5143500"/>
              <a:gd name="connsiteX36" fmla="*/ 137158 w 4572000"/>
              <a:gd name="connsiteY36" fmla="*/ 336240 h 5143500"/>
              <a:gd name="connsiteX37" fmla="*/ 149679 w 4572000"/>
              <a:gd name="connsiteY37" fmla="*/ 324633 h 5143500"/>
              <a:gd name="connsiteX38" fmla="*/ 137449 w 4572000"/>
              <a:gd name="connsiteY38" fmla="*/ 312467 h 5143500"/>
              <a:gd name="connsiteX39" fmla="*/ 0 w 4572000"/>
              <a:gd name="connsiteY39" fmla="*/ 0 h 5143500"/>
              <a:gd name="connsiteX40" fmla="*/ 4572000 w 4572000"/>
              <a:gd name="connsiteY40" fmla="*/ 0 h 5143500"/>
              <a:gd name="connsiteX41" fmla="*/ 4572000 w 4572000"/>
              <a:gd name="connsiteY41" fmla="*/ 5143500 h 5143500"/>
              <a:gd name="connsiteX42" fmla="*/ 0 w 4572000"/>
              <a:gd name="connsiteY4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4572000" h="5143500">
                <a:moveTo>
                  <a:pt x="137498" y="2070213"/>
                </a:moveTo>
                <a:cubicBezTo>
                  <a:pt x="130585" y="2070030"/>
                  <a:pt x="124824" y="2075207"/>
                  <a:pt x="124631" y="2081770"/>
                </a:cubicBezTo>
                <a:cubicBezTo>
                  <a:pt x="124631" y="2081784"/>
                  <a:pt x="124631" y="2081802"/>
                  <a:pt x="124631" y="2081817"/>
                </a:cubicBezTo>
                <a:cubicBezTo>
                  <a:pt x="124547" y="2088463"/>
                  <a:pt x="130161" y="2093912"/>
                  <a:pt x="137158" y="2093986"/>
                </a:cubicBezTo>
                <a:cubicBezTo>
                  <a:pt x="143939" y="2093982"/>
                  <a:pt x="149486" y="2088862"/>
                  <a:pt x="149674" y="2082425"/>
                </a:cubicBezTo>
                <a:cubicBezTo>
                  <a:pt x="149866" y="2075863"/>
                  <a:pt x="144413" y="2070395"/>
                  <a:pt x="137498" y="2070213"/>
                </a:cubicBezTo>
                <a:close/>
                <a:moveTo>
                  <a:pt x="137789" y="1765449"/>
                </a:moveTo>
                <a:cubicBezTo>
                  <a:pt x="123931" y="1765111"/>
                  <a:pt x="112411" y="1775503"/>
                  <a:pt x="112056" y="1788657"/>
                </a:cubicBezTo>
                <a:cubicBezTo>
                  <a:pt x="112056" y="1788675"/>
                  <a:pt x="112056" y="1788689"/>
                  <a:pt x="112056" y="1788707"/>
                </a:cubicBezTo>
                <a:cubicBezTo>
                  <a:pt x="111893" y="1802020"/>
                  <a:pt x="123132" y="1812936"/>
                  <a:pt x="137157" y="1813090"/>
                </a:cubicBezTo>
                <a:cubicBezTo>
                  <a:pt x="150769" y="1813086"/>
                  <a:pt x="161893" y="1802788"/>
                  <a:pt x="162245" y="1789873"/>
                </a:cubicBezTo>
                <a:cubicBezTo>
                  <a:pt x="162595" y="1776720"/>
                  <a:pt x="151651" y="1765781"/>
                  <a:pt x="137789" y="1765449"/>
                </a:cubicBezTo>
                <a:close/>
                <a:moveTo>
                  <a:pt x="137498" y="1484172"/>
                </a:moveTo>
                <a:cubicBezTo>
                  <a:pt x="130584" y="1483989"/>
                  <a:pt x="124823" y="1489166"/>
                  <a:pt x="124631" y="1495729"/>
                </a:cubicBezTo>
                <a:cubicBezTo>
                  <a:pt x="124631" y="1495776"/>
                  <a:pt x="124631" y="1495823"/>
                  <a:pt x="124631" y="1495874"/>
                </a:cubicBezTo>
                <a:cubicBezTo>
                  <a:pt x="124577" y="1502488"/>
                  <a:pt x="130184" y="1507895"/>
                  <a:pt x="137157" y="1507945"/>
                </a:cubicBezTo>
                <a:cubicBezTo>
                  <a:pt x="143938" y="1507941"/>
                  <a:pt x="149486" y="1502821"/>
                  <a:pt x="149674" y="1496384"/>
                </a:cubicBezTo>
                <a:cubicBezTo>
                  <a:pt x="149866" y="1489822"/>
                  <a:pt x="144412" y="1484354"/>
                  <a:pt x="137498" y="1484172"/>
                </a:cubicBezTo>
                <a:close/>
                <a:moveTo>
                  <a:pt x="137498" y="1191246"/>
                </a:moveTo>
                <a:cubicBezTo>
                  <a:pt x="130584" y="1191064"/>
                  <a:pt x="124823" y="1196240"/>
                  <a:pt x="124631" y="1202803"/>
                </a:cubicBezTo>
                <a:cubicBezTo>
                  <a:pt x="124631" y="1202850"/>
                  <a:pt x="124631" y="1202897"/>
                  <a:pt x="124631" y="1202948"/>
                </a:cubicBezTo>
                <a:cubicBezTo>
                  <a:pt x="124577" y="1209562"/>
                  <a:pt x="130184" y="1214969"/>
                  <a:pt x="137157" y="1215019"/>
                </a:cubicBezTo>
                <a:cubicBezTo>
                  <a:pt x="143938" y="1215015"/>
                  <a:pt x="149486" y="1209895"/>
                  <a:pt x="149674" y="1203458"/>
                </a:cubicBezTo>
                <a:cubicBezTo>
                  <a:pt x="149866" y="1196896"/>
                  <a:pt x="144412" y="1191428"/>
                  <a:pt x="137498" y="1191246"/>
                </a:cubicBezTo>
                <a:close/>
                <a:moveTo>
                  <a:pt x="137449" y="898320"/>
                </a:moveTo>
                <a:cubicBezTo>
                  <a:pt x="130535" y="898165"/>
                  <a:pt x="124795" y="903361"/>
                  <a:pt x="124631" y="909924"/>
                </a:cubicBezTo>
                <a:cubicBezTo>
                  <a:pt x="124552" y="916570"/>
                  <a:pt x="130161" y="922019"/>
                  <a:pt x="137158" y="922093"/>
                </a:cubicBezTo>
                <a:cubicBezTo>
                  <a:pt x="143959" y="922093"/>
                  <a:pt x="149516" y="916941"/>
                  <a:pt x="149679" y="910486"/>
                </a:cubicBezTo>
                <a:cubicBezTo>
                  <a:pt x="149841" y="903923"/>
                  <a:pt x="144367" y="898474"/>
                  <a:pt x="137449" y="898320"/>
                </a:cubicBezTo>
                <a:close/>
                <a:moveTo>
                  <a:pt x="137744" y="593738"/>
                </a:moveTo>
                <a:cubicBezTo>
                  <a:pt x="123881" y="593429"/>
                  <a:pt x="112381" y="603844"/>
                  <a:pt x="112056" y="616998"/>
                </a:cubicBezTo>
                <a:cubicBezTo>
                  <a:pt x="111918" y="630301"/>
                  <a:pt x="123142" y="641207"/>
                  <a:pt x="137158" y="641384"/>
                </a:cubicBezTo>
                <a:cubicBezTo>
                  <a:pt x="150789" y="641381"/>
                  <a:pt x="161924" y="631054"/>
                  <a:pt x="162244" y="618121"/>
                </a:cubicBezTo>
                <a:cubicBezTo>
                  <a:pt x="162570" y="604968"/>
                  <a:pt x="151602" y="594052"/>
                  <a:pt x="137744" y="593738"/>
                </a:cubicBezTo>
                <a:close/>
                <a:moveTo>
                  <a:pt x="137449" y="312467"/>
                </a:moveTo>
                <a:cubicBezTo>
                  <a:pt x="130535" y="312312"/>
                  <a:pt x="124795" y="317508"/>
                  <a:pt x="124631" y="324071"/>
                </a:cubicBezTo>
                <a:cubicBezTo>
                  <a:pt x="124552" y="330717"/>
                  <a:pt x="130161" y="336166"/>
                  <a:pt x="137158" y="336240"/>
                </a:cubicBezTo>
                <a:cubicBezTo>
                  <a:pt x="143959" y="336240"/>
                  <a:pt x="149516" y="331088"/>
                  <a:pt x="149679" y="324633"/>
                </a:cubicBezTo>
                <a:cubicBezTo>
                  <a:pt x="149841" y="318071"/>
                  <a:pt x="144367" y="312621"/>
                  <a:pt x="137449" y="312467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7" name="Dots">
            <a:extLst>
              <a:ext uri="{FF2B5EF4-FFF2-40B4-BE49-F238E27FC236}">
                <a16:creationId xmlns:a16="http://schemas.microsoft.com/office/drawing/2014/main" id="{EE9EFEE1-081D-43C2-B79D-9A03DAD0196F}"/>
              </a:ext>
            </a:extLst>
          </p:cNvPr>
          <p:cNvSpPr/>
          <p:nvPr userDrawn="1"/>
        </p:nvSpPr>
        <p:spPr>
          <a:xfrm rot="16200000">
            <a:off x="2916304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>
              <a:latin typeface="Arial" panose="020B0604020202020204" pitchFamily="34" charset="0"/>
            </a:endParaRPr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E1AED2E5-EACC-4379-8B86-BDCC33C414F2}"/>
              </a:ext>
            </a:extLst>
          </p:cNvPr>
          <p:cNvGrpSpPr/>
          <p:nvPr/>
        </p:nvGrpSpPr>
        <p:grpSpPr>
          <a:xfrm>
            <a:off x="571126" y="4482250"/>
            <a:ext cx="1535077" cy="256610"/>
            <a:chOff x="301852" y="4913727"/>
            <a:chExt cx="487916" cy="81562"/>
          </a:xfrm>
          <a:solidFill>
            <a:schemeClr val="bg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2" y="231777"/>
            <a:ext cx="2824965" cy="2583344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Add text for example Thank you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2B055659-967E-4FB4-B761-219916CE0D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2" y="3890837"/>
            <a:ext cx="2705129" cy="365125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DEB59F"/>
                </a:solidFill>
              </a:defRPr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US"/>
              <a:t>Click to add date and/or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610017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3">
    <p:bg>
      <p:bgPr>
        <a:solidFill>
          <a:schemeClr val="bg2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aphic 19">
            <a:extLst>
              <a:ext uri="{FF2B5EF4-FFF2-40B4-BE49-F238E27FC236}">
                <a16:creationId xmlns:a16="http://schemas.microsoft.com/office/drawing/2014/main" id="{E1AED2E5-EACC-4379-8B86-BDCC33C414F2}"/>
              </a:ext>
            </a:extLst>
          </p:cNvPr>
          <p:cNvGrpSpPr/>
          <p:nvPr/>
        </p:nvGrpSpPr>
        <p:grpSpPr>
          <a:xfrm>
            <a:off x="571126" y="4482250"/>
            <a:ext cx="1535077" cy="256610"/>
            <a:chOff x="301852" y="4913727"/>
            <a:chExt cx="487916" cy="81562"/>
          </a:xfrm>
          <a:solidFill>
            <a:schemeClr val="tx2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2" y="231777"/>
            <a:ext cx="2824965" cy="2583344"/>
          </a:xfrm>
        </p:spPr>
        <p:txBody>
          <a:bodyPr anchor="b"/>
          <a:lstStyle>
            <a:lvl1pPr algn="l"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/>
              <a:t>Add text for example Thank you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2B055659-967E-4FB4-B761-219916CE0D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2" y="3890837"/>
            <a:ext cx="2705129" cy="365125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808080"/>
                </a:solidFill>
              </a:defRPr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US"/>
              <a:t>Click to add date and/or presenters name</a:t>
            </a:r>
          </a:p>
        </p:txBody>
      </p:sp>
      <p:sp>
        <p:nvSpPr>
          <p:cNvPr id="35" name="Dots">
            <a:extLst>
              <a:ext uri="{FF2B5EF4-FFF2-40B4-BE49-F238E27FC236}">
                <a16:creationId xmlns:a16="http://schemas.microsoft.com/office/drawing/2014/main" id="{4C816F69-5068-4908-9804-E11DD367E853}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7223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aphic 19">
            <a:extLst>
              <a:ext uri="{FF2B5EF4-FFF2-40B4-BE49-F238E27FC236}">
                <a16:creationId xmlns:a16="http://schemas.microsoft.com/office/drawing/2014/main" id="{E1AED2E5-EACC-4379-8B86-BDCC33C414F2}"/>
              </a:ext>
            </a:extLst>
          </p:cNvPr>
          <p:cNvGrpSpPr/>
          <p:nvPr/>
        </p:nvGrpSpPr>
        <p:grpSpPr>
          <a:xfrm>
            <a:off x="571126" y="4482250"/>
            <a:ext cx="1535077" cy="256610"/>
            <a:chOff x="301852" y="4913727"/>
            <a:chExt cx="487916" cy="81562"/>
          </a:xfrm>
          <a:solidFill>
            <a:schemeClr val="bg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2" y="231777"/>
            <a:ext cx="2824965" cy="2583344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Add text for example Thank you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2B055659-967E-4FB4-B761-219916CE0D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2" y="3890837"/>
            <a:ext cx="2705129" cy="365125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DEB59F"/>
                </a:solidFill>
              </a:defRPr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US"/>
              <a:t>Click to add date and/or presenters name</a:t>
            </a:r>
          </a:p>
        </p:txBody>
      </p:sp>
      <p:sp>
        <p:nvSpPr>
          <p:cNvPr id="35" name="Dots">
            <a:extLst>
              <a:ext uri="{FF2B5EF4-FFF2-40B4-BE49-F238E27FC236}">
                <a16:creationId xmlns:a16="http://schemas.microsoft.com/office/drawing/2014/main" id="{D001CC6F-BFCA-4280-BE24-68BE1C518787}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5748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picture, 2 Title and Comparison with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DFB68184-CA1A-5240-886F-1684FEC22093}"/>
              </a:ext>
            </a:extLst>
          </p:cNvPr>
          <p:cNvSpPr>
            <a:spLocks noGrp="1" noChangeAspect="1"/>
          </p:cNvSpPr>
          <p:nvPr>
            <p:ph type="pic" idx="14"/>
          </p:nvPr>
        </p:nvSpPr>
        <p:spPr>
          <a:xfrm>
            <a:off x="0" y="1"/>
            <a:ext cx="9144000" cy="3163331"/>
          </a:xfrm>
          <a:solidFill>
            <a:srgbClr val="E0DED8"/>
          </a:solidFill>
        </p:spPr>
        <p:txBody>
          <a:bodyPr anchor="t"/>
          <a:lstStyle>
            <a:lvl1pPr marL="0" indent="0" algn="ctr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6E2D818-929B-3141-929A-46354B0F7448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576263" y="396145"/>
            <a:ext cx="6047113" cy="367946"/>
          </a:xfrm>
        </p:spPr>
        <p:txBody>
          <a:bodyPr rIns="0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  <a:lvl2pPr>
              <a:defRPr sz="900"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263" y="768096"/>
            <a:ext cx="7991475" cy="69919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4D529F2E-8730-8942-9F56-7FAF5E921BB4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576263" y="2190542"/>
            <a:ext cx="1892067" cy="2397335"/>
          </a:xfrm>
          <a:solidFill>
            <a:schemeClr val="tx1"/>
          </a:solidFill>
        </p:spPr>
        <p:txBody>
          <a:bodyPr lIns="251999" tIns="251999" rIns="324000" bIns="251999"/>
          <a:lstStyle>
            <a:lvl1pPr marL="0" indent="0">
              <a:buFontTx/>
              <a:buNone/>
              <a:defRPr sz="14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1000">
                <a:solidFill>
                  <a:schemeClr val="bg2"/>
                </a:solidFill>
              </a:defRPr>
            </a:lvl2pPr>
            <a:lvl3pPr marL="172796">
              <a:defRPr sz="1000">
                <a:solidFill>
                  <a:schemeClr val="bg2"/>
                </a:solidFill>
              </a:defRPr>
            </a:lvl3pPr>
            <a:lvl4pPr marL="345591">
              <a:defRPr sz="1000">
                <a:solidFill>
                  <a:schemeClr val="bg2"/>
                </a:solidFill>
              </a:defRPr>
            </a:lvl4pPr>
            <a:lvl5pPr marL="518387"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Use ”Increase List Level” and ”Decrease List Level” buttons to change list levels (Home/Paragraph)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470E3256-2D9B-BF48-9E15-6C19A171143E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609399" y="2190542"/>
            <a:ext cx="1892067" cy="2397335"/>
          </a:xfrm>
          <a:solidFill>
            <a:schemeClr val="tx1"/>
          </a:solidFill>
        </p:spPr>
        <p:txBody>
          <a:bodyPr lIns="251999" tIns="251999" rIns="324000" bIns="251999"/>
          <a:lstStyle>
            <a:lvl1pPr marL="0" indent="0">
              <a:buFontTx/>
              <a:buNone/>
              <a:defRPr sz="14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1000">
                <a:solidFill>
                  <a:schemeClr val="bg2"/>
                </a:solidFill>
              </a:defRPr>
            </a:lvl2pPr>
            <a:lvl3pPr marL="0">
              <a:defRPr sz="1000">
                <a:solidFill>
                  <a:schemeClr val="bg2"/>
                </a:solidFill>
              </a:defRPr>
            </a:lvl3pPr>
            <a:lvl4pPr marL="345591">
              <a:defRPr sz="1000">
                <a:solidFill>
                  <a:schemeClr val="bg2"/>
                </a:solidFill>
              </a:defRPr>
            </a:lvl4pPr>
            <a:lvl5pPr marL="518387"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Click to add text.</a:t>
            </a:r>
          </a:p>
          <a:p>
            <a:pPr lvl="0"/>
            <a:r>
              <a:rPr lang="en-GB" noProof="0"/>
              <a:t>Do not use tab keys or Bullets button.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F4C72636-DEB4-D344-93A7-3770612C3218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642535" y="2190542"/>
            <a:ext cx="1892067" cy="2397335"/>
          </a:xfrm>
          <a:solidFill>
            <a:schemeClr val="tx1"/>
          </a:solidFill>
        </p:spPr>
        <p:txBody>
          <a:bodyPr lIns="251999" tIns="251999" rIns="324000" bIns="251999"/>
          <a:lstStyle>
            <a:lvl1pPr marL="0" indent="0">
              <a:buFontTx/>
              <a:buNone/>
              <a:defRPr sz="14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1000">
                <a:solidFill>
                  <a:schemeClr val="bg2"/>
                </a:solidFill>
              </a:defRPr>
            </a:lvl2pPr>
            <a:lvl3pPr marL="172796">
              <a:defRPr sz="1000">
                <a:solidFill>
                  <a:schemeClr val="bg2"/>
                </a:solidFill>
              </a:defRPr>
            </a:lvl3pPr>
            <a:lvl4pPr marL="345591">
              <a:defRPr sz="1000">
                <a:solidFill>
                  <a:schemeClr val="bg2"/>
                </a:solidFill>
              </a:defRPr>
            </a:lvl4pPr>
            <a:lvl5pPr marL="518387"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Click to add text.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00A7DE7E-1617-F34E-80FA-A5C290AF61B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675671" y="2190542"/>
            <a:ext cx="1892067" cy="2397335"/>
          </a:xfrm>
          <a:solidFill>
            <a:schemeClr val="tx1"/>
          </a:solidFill>
        </p:spPr>
        <p:txBody>
          <a:bodyPr lIns="251999" tIns="251999" rIns="324000" bIns="251999"/>
          <a:lstStyle>
            <a:lvl1pPr marL="0" indent="0">
              <a:buFontTx/>
              <a:buNone/>
              <a:defRPr sz="14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1000">
                <a:solidFill>
                  <a:schemeClr val="bg2"/>
                </a:solidFill>
              </a:defRPr>
            </a:lvl2pPr>
            <a:lvl3pPr marL="172796">
              <a:defRPr sz="1000">
                <a:solidFill>
                  <a:schemeClr val="bg2"/>
                </a:solidFill>
              </a:defRPr>
            </a:lvl3pPr>
            <a:lvl4pPr marL="345591">
              <a:defRPr sz="1000">
                <a:solidFill>
                  <a:schemeClr val="bg2"/>
                </a:solidFill>
              </a:defRPr>
            </a:lvl4pPr>
            <a:lvl5pPr marL="518387"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Click to add text.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81598B9-D3B3-7B43-9D70-CED5FAD3E0CC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576263" y="1561264"/>
            <a:ext cx="1892067" cy="628650"/>
          </a:xfrm>
          <a:solidFill>
            <a:schemeClr val="bg2"/>
          </a:solidFill>
        </p:spPr>
        <p:txBody>
          <a:bodyPr lIns="251999" tIns="251999" rIns="324000" bIns="251999"/>
          <a:lstStyle>
            <a:lvl1pPr>
              <a:defRPr sz="6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600">
                <a:solidFill>
                  <a:schemeClr val="bg2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2A30670-D364-6047-A608-673B16161AAD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2609399" y="1561264"/>
            <a:ext cx="1892067" cy="628650"/>
          </a:xfrm>
          <a:solidFill>
            <a:schemeClr val="bg2"/>
          </a:solidFill>
        </p:spPr>
        <p:txBody>
          <a:bodyPr lIns="251999" tIns="251999" rIns="324000" bIns="251999"/>
          <a:lstStyle>
            <a:lvl1pPr>
              <a:defRPr sz="6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600">
                <a:solidFill>
                  <a:schemeClr val="bg2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6F0B54F-3CEB-2544-BDA9-17AEE3B344BA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4642535" y="1561264"/>
            <a:ext cx="1892067" cy="628650"/>
          </a:xfrm>
          <a:solidFill>
            <a:schemeClr val="bg2"/>
          </a:solidFill>
        </p:spPr>
        <p:txBody>
          <a:bodyPr lIns="251999" tIns="251999" rIns="324000" bIns="251999"/>
          <a:lstStyle>
            <a:lvl1pPr>
              <a:defRPr sz="6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600">
                <a:solidFill>
                  <a:schemeClr val="bg2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5232D30-99EF-D24E-BDC3-86F8A086831D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6675671" y="1561264"/>
            <a:ext cx="1892067" cy="628650"/>
          </a:xfrm>
          <a:solidFill>
            <a:schemeClr val="bg2"/>
          </a:solidFill>
        </p:spPr>
        <p:txBody>
          <a:bodyPr lIns="251999" tIns="251999" rIns="324000" bIns="251999"/>
          <a:lstStyle>
            <a:lvl1pPr>
              <a:defRPr sz="6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600">
                <a:solidFill>
                  <a:schemeClr val="bg2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44D4AD-7034-5E45-AAAE-D685B84B781D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8" name="Text Placeholder 6" title="Logo"/>
          <p:cNvSpPr>
            <a:spLocks noGrp="1"/>
          </p:cNvSpPr>
          <p:nvPr>
            <p:ph type="body" sz="quarter" idx="27" hasCustomPrompt="1"/>
          </p:nvPr>
        </p:nvSpPr>
        <p:spPr>
          <a:xfrm>
            <a:off x="129600" y="118800"/>
            <a:ext cx="568800" cy="1404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rIns="0"/>
          <a:lstStyle>
            <a:lvl1pPr marL="0" indent="0">
              <a:buFontTx/>
              <a:buNone/>
              <a:defRPr sz="100">
                <a:solidFill>
                  <a:srgbClr val="E6E6E6"/>
                </a:solidFill>
              </a:defRPr>
            </a:lvl1pPr>
            <a:lvl2pPr marL="342892" indent="0">
              <a:buFontTx/>
              <a:buNone/>
              <a:defRPr sz="800">
                <a:solidFill>
                  <a:schemeClr val="bg2"/>
                </a:solidFill>
              </a:defRPr>
            </a:lvl2pPr>
            <a:lvl3pPr marL="685783" indent="0">
              <a:buFontTx/>
              <a:buNone/>
              <a:defRPr sz="800">
                <a:solidFill>
                  <a:schemeClr val="bg2"/>
                </a:solidFill>
              </a:defRPr>
            </a:lvl3pPr>
            <a:lvl4pPr marL="1028675" indent="0">
              <a:buFontTx/>
              <a:buNone/>
              <a:defRPr sz="800">
                <a:solidFill>
                  <a:schemeClr val="bg2"/>
                </a:solidFill>
              </a:defRPr>
            </a:lvl4pPr>
            <a:lvl5pPr marL="1371566" indent="0">
              <a:buFontTx/>
              <a:buNone/>
              <a:defRPr sz="800">
                <a:solidFill>
                  <a:schemeClr val="bg2"/>
                </a:solidFill>
              </a:defRPr>
            </a:lvl5pPr>
          </a:lstStyle>
          <a:p>
            <a:pPr lvl="0"/>
            <a:r>
              <a:rPr lang="fi-FI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3102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">
    <p:bg>
      <p:bgPr>
        <a:solidFill>
          <a:srgbClr val="0639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400" y="1289635"/>
            <a:ext cx="5205600" cy="2455200"/>
          </a:xfrm>
        </p:spPr>
        <p:txBody>
          <a:bodyPr/>
          <a:lstStyle>
            <a:lvl1pPr>
              <a:lnSpc>
                <a:spcPct val="93000"/>
              </a:lnSpc>
              <a:spcBef>
                <a:spcPts val="1800"/>
              </a:spcBef>
              <a:defRPr sz="50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644D4AD-7034-5E45-AAAE-D685B84B781D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Text Placeholder 6" title="Logo"/>
          <p:cNvSpPr>
            <a:spLocks noGrp="1"/>
          </p:cNvSpPr>
          <p:nvPr>
            <p:ph type="body" sz="quarter" idx="22" hasCustomPrompt="1"/>
          </p:nvPr>
        </p:nvSpPr>
        <p:spPr>
          <a:xfrm>
            <a:off x="129600" y="118800"/>
            <a:ext cx="568800" cy="1404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rIns="0"/>
          <a:lstStyle>
            <a:lvl1pPr marL="0" indent="0">
              <a:buFontTx/>
              <a:buNone/>
              <a:defRPr sz="100">
                <a:solidFill>
                  <a:srgbClr val="E6E6E6"/>
                </a:solidFill>
              </a:defRPr>
            </a:lvl1pPr>
            <a:lvl2pPr marL="342892" indent="0">
              <a:buFontTx/>
              <a:buNone/>
              <a:defRPr sz="800">
                <a:solidFill>
                  <a:schemeClr val="bg2"/>
                </a:solidFill>
              </a:defRPr>
            </a:lvl2pPr>
            <a:lvl3pPr marL="685783" indent="0">
              <a:buFontTx/>
              <a:buNone/>
              <a:defRPr sz="800">
                <a:solidFill>
                  <a:schemeClr val="bg2"/>
                </a:solidFill>
              </a:defRPr>
            </a:lvl3pPr>
            <a:lvl4pPr marL="1028675" indent="0">
              <a:buFontTx/>
              <a:buNone/>
              <a:defRPr sz="800">
                <a:solidFill>
                  <a:schemeClr val="bg2"/>
                </a:solidFill>
              </a:defRPr>
            </a:lvl4pPr>
            <a:lvl5pPr marL="1371566" indent="0">
              <a:buFontTx/>
              <a:buNone/>
              <a:defRPr sz="800">
                <a:solidFill>
                  <a:schemeClr val="bg2"/>
                </a:solidFill>
              </a:defRPr>
            </a:lvl5pPr>
          </a:lstStyle>
          <a:p>
            <a:pPr lvl="0"/>
            <a:r>
              <a:rPr lang="fi-FI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7534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picture, 2 Title and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DFB68184-CA1A-5240-886F-1684FEC22093}"/>
              </a:ext>
            </a:extLst>
          </p:cNvPr>
          <p:cNvSpPr>
            <a:spLocks noGrp="1" noChangeAspect="1"/>
          </p:cNvSpPr>
          <p:nvPr>
            <p:ph type="pic" idx="14"/>
          </p:nvPr>
        </p:nvSpPr>
        <p:spPr>
          <a:xfrm>
            <a:off x="0" y="1"/>
            <a:ext cx="9144000" cy="3163331"/>
          </a:xfrm>
          <a:solidFill>
            <a:srgbClr val="E0DED8"/>
          </a:solidFill>
        </p:spPr>
        <p:txBody>
          <a:bodyPr anchor="t"/>
          <a:lstStyle>
            <a:lvl1pPr marL="0" indent="0" algn="ctr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264" y="768096"/>
            <a:ext cx="3400314" cy="69919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DEEAA0-107A-CB4C-9D52-4CEE5A94FA6B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76264" y="1477927"/>
            <a:ext cx="3420971" cy="573296"/>
          </a:xfrm>
        </p:spPr>
        <p:txBody>
          <a:bodyPr rIns="0"/>
          <a:lstStyle>
            <a:lvl1pPr marL="0" indent="0">
              <a:lnSpc>
                <a:spcPct val="100000"/>
              </a:lnSpc>
              <a:buFontTx/>
              <a:buNone/>
              <a:defRPr sz="1400" b="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</a:lstStyle>
          <a:p>
            <a:pPr lvl="0"/>
            <a:r>
              <a:rPr lang="fi-FI" noProof="0"/>
              <a:t>Click to add text.</a:t>
            </a:r>
            <a:endParaRPr lang="en-GB" noProof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BE662F9-7507-5F49-898E-4048DDFBFE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67051" y="2435827"/>
            <a:ext cx="2573002" cy="2152049"/>
          </a:xfrm>
          <a:solidFill>
            <a:schemeClr val="tx1"/>
          </a:solidFill>
        </p:spPr>
        <p:txBody>
          <a:bodyPr lIns="251999" tIns="251999" rIns="324000" bIns="251999"/>
          <a:lstStyle>
            <a:lvl1pPr marL="0" indent="0">
              <a:buFontTx/>
              <a:buNone/>
              <a:defRPr sz="14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1200">
                <a:solidFill>
                  <a:schemeClr val="bg2"/>
                </a:solidFill>
              </a:defRPr>
            </a:lvl2pPr>
            <a:lvl3pPr marL="172796">
              <a:defRPr sz="1200">
                <a:solidFill>
                  <a:schemeClr val="bg2"/>
                </a:solidFill>
              </a:defRPr>
            </a:lvl3pPr>
            <a:lvl4pPr marL="345591">
              <a:defRPr sz="1200">
                <a:solidFill>
                  <a:schemeClr val="bg2"/>
                </a:solidFill>
              </a:defRPr>
            </a:lvl4pPr>
            <a:lvl5pPr marL="518387"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Click to add text.</a:t>
            </a:r>
            <a:br>
              <a:rPr lang="en-GB" noProof="0"/>
            </a:br>
            <a:r>
              <a:rPr lang="en-GB" noProof="0"/>
              <a:t>Use ”Increase List Level” and ”Decrease List Level” buttons to change list levels (Home/Paragraph)</a:t>
            </a:r>
            <a:br>
              <a:rPr lang="en-GB" noProof="0"/>
            </a:br>
            <a:r>
              <a:rPr lang="en-GB" noProof="0"/>
              <a:t>Do not use tab keys or Bullets button.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2951B31-E4AA-5642-9E83-01DEFC96BC8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287310" y="2435826"/>
            <a:ext cx="2573002" cy="2152049"/>
          </a:xfrm>
          <a:solidFill>
            <a:schemeClr val="tx1"/>
          </a:solidFill>
        </p:spPr>
        <p:txBody>
          <a:bodyPr lIns="251999" tIns="251999" rIns="324000" bIns="251999"/>
          <a:lstStyle>
            <a:lvl1pPr marL="0" indent="0">
              <a:buFontTx/>
              <a:buNone/>
              <a:defRPr sz="14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1200">
                <a:solidFill>
                  <a:schemeClr val="bg2"/>
                </a:solidFill>
              </a:defRPr>
            </a:lvl2pPr>
            <a:lvl3pPr marL="172796">
              <a:defRPr sz="1200">
                <a:solidFill>
                  <a:schemeClr val="bg2"/>
                </a:solidFill>
              </a:defRPr>
            </a:lvl3pPr>
            <a:lvl4pPr marL="345591">
              <a:defRPr sz="1200">
                <a:solidFill>
                  <a:schemeClr val="bg2"/>
                </a:solidFill>
              </a:defRPr>
            </a:lvl4pPr>
            <a:lvl5pPr marL="518387"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Click to add text.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fi-FI" noProof="0"/>
              <a:t>Third level</a:t>
            </a:r>
          </a:p>
          <a:p>
            <a:pPr lvl="3"/>
            <a:r>
              <a:rPr lang="fi-FI" noProof="0"/>
              <a:t>Fourth level</a:t>
            </a:r>
          </a:p>
          <a:p>
            <a:pPr lvl="4"/>
            <a:r>
              <a:rPr lang="fi-FI" noProof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23E5C01-5525-0E4F-BFEE-0E8F1EAE1014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5994737" y="2435827"/>
            <a:ext cx="2573002" cy="2152049"/>
          </a:xfrm>
          <a:solidFill>
            <a:schemeClr val="tx1"/>
          </a:solidFill>
        </p:spPr>
        <p:txBody>
          <a:bodyPr lIns="251999" tIns="251999" rIns="324000" bIns="251999"/>
          <a:lstStyle>
            <a:lvl1pPr marL="0" indent="0">
              <a:buFontTx/>
              <a:buNone/>
              <a:defRPr sz="14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1200">
                <a:solidFill>
                  <a:schemeClr val="bg2"/>
                </a:solidFill>
              </a:defRPr>
            </a:lvl2pPr>
            <a:lvl3pPr marL="172796" indent="-171446"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</a:defRPr>
            </a:lvl3pPr>
            <a:lvl4pPr marL="345591">
              <a:defRPr sz="1200">
                <a:solidFill>
                  <a:schemeClr val="bg2"/>
                </a:solidFill>
              </a:defRPr>
            </a:lvl4pPr>
            <a:lvl5pPr marL="518387"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Click to add text.</a:t>
            </a:r>
          </a:p>
          <a:p>
            <a:pPr lvl="1"/>
            <a:r>
              <a:rPr lang="en-GB" noProof="0"/>
              <a:t>Second level 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fi-FI" noProof="0"/>
              <a:t>Fourth level</a:t>
            </a:r>
          </a:p>
          <a:p>
            <a:pPr lvl="4"/>
            <a:r>
              <a:rPr lang="fi-FI" noProof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44D4AD-7034-5E45-AAAE-D685B84B781D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2" name="Text Placeholder 6" title="Logo"/>
          <p:cNvSpPr>
            <a:spLocks noGrp="1"/>
          </p:cNvSpPr>
          <p:nvPr>
            <p:ph type="body" sz="quarter" idx="22" hasCustomPrompt="1"/>
          </p:nvPr>
        </p:nvSpPr>
        <p:spPr>
          <a:xfrm>
            <a:off x="129600" y="118800"/>
            <a:ext cx="568800" cy="1404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rIns="0"/>
          <a:lstStyle>
            <a:lvl1pPr marL="0" indent="0">
              <a:buFontTx/>
              <a:buNone/>
              <a:defRPr sz="100">
                <a:solidFill>
                  <a:srgbClr val="E6E6E6"/>
                </a:solidFill>
              </a:defRPr>
            </a:lvl1pPr>
            <a:lvl2pPr marL="342892" indent="0">
              <a:buFontTx/>
              <a:buNone/>
              <a:defRPr sz="800">
                <a:solidFill>
                  <a:schemeClr val="bg2"/>
                </a:solidFill>
              </a:defRPr>
            </a:lvl2pPr>
            <a:lvl3pPr marL="685783" indent="0">
              <a:buFontTx/>
              <a:buNone/>
              <a:defRPr sz="800">
                <a:solidFill>
                  <a:schemeClr val="bg2"/>
                </a:solidFill>
              </a:defRPr>
            </a:lvl3pPr>
            <a:lvl4pPr marL="1028675" indent="0">
              <a:buFontTx/>
              <a:buNone/>
              <a:defRPr sz="800">
                <a:solidFill>
                  <a:schemeClr val="bg2"/>
                </a:solidFill>
              </a:defRPr>
            </a:lvl4pPr>
            <a:lvl5pPr marL="1371566" indent="0">
              <a:buFontTx/>
              <a:buNone/>
              <a:defRPr sz="800">
                <a:solidFill>
                  <a:schemeClr val="bg2"/>
                </a:solidFill>
              </a:defRPr>
            </a:lvl5pPr>
          </a:lstStyle>
          <a:p>
            <a:pPr lvl="0"/>
            <a:r>
              <a:rPr lang="fi-FI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5026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3273091" cy="1439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 for example Agenda</a:t>
            </a:r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DC43ACE-919E-4F14-B57A-476B078BDAD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December 14, 2021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8C85202-0B59-48F2-8674-991A71F862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C77536-C884-4A81-AE68-002872FF97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61E25E67-CBB9-434B-BBF7-0A5E970272B8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823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3" pos="4513">
          <p15:clr>
            <a:srgbClr val="FBAE40"/>
          </p15:clr>
        </p15:guide>
        <p15:guide id="4" pos="22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2A7B7240-46E4-4543-B100-94069315B849}"/>
              </a:ext>
            </a:extLst>
          </p:cNvPr>
          <p:cNvSpPr>
            <a:spLocks noGrp="1" noChangeAspect="1"/>
          </p:cNvSpPr>
          <p:nvPr>
            <p:ph type="pic" idx="16" hasCustomPrompt="1"/>
          </p:nvPr>
        </p:nvSpPr>
        <p:spPr>
          <a:xfrm>
            <a:off x="0" y="2"/>
            <a:ext cx="9144000" cy="339725"/>
          </a:xfrm>
          <a:solidFill>
            <a:srgbClr val="E0DED8"/>
          </a:solidFill>
        </p:spPr>
        <p:txBody>
          <a:bodyPr anchor="t"/>
          <a:lstStyle>
            <a:lvl1pPr marL="0" indent="0" algn="l">
              <a:buNone/>
              <a:defRPr sz="2400"/>
            </a:lvl1pPr>
            <a:lvl2pPr marL="342884" indent="0">
              <a:buNone/>
              <a:defRPr sz="2100"/>
            </a:lvl2pPr>
            <a:lvl3pPr marL="685766" indent="0">
              <a:buNone/>
              <a:defRPr sz="1800"/>
            </a:lvl3pPr>
            <a:lvl4pPr marL="1028649" indent="0">
              <a:buNone/>
              <a:defRPr sz="1500"/>
            </a:lvl4pPr>
            <a:lvl5pPr marL="1371532" indent="0">
              <a:buNone/>
              <a:defRPr sz="1500"/>
            </a:lvl5pPr>
            <a:lvl6pPr marL="1714415" indent="0">
              <a:buNone/>
              <a:defRPr sz="1500"/>
            </a:lvl6pPr>
            <a:lvl7pPr marL="2057297" indent="0">
              <a:buNone/>
              <a:defRPr sz="1500"/>
            </a:lvl7pPr>
            <a:lvl8pPr marL="2400180" indent="0">
              <a:buNone/>
              <a:defRPr sz="1500"/>
            </a:lvl8pPr>
            <a:lvl9pPr marL="2743064" indent="0">
              <a:buNone/>
              <a:defRPr sz="1500"/>
            </a:lvl9pPr>
          </a:lstStyle>
          <a:p>
            <a:r>
              <a:rPr lang="en-GB" noProof="0"/>
              <a:t>          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1927650-3111-E74B-B271-0E44C1F46C3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79885" y="1477928"/>
            <a:ext cx="2573002" cy="3109949"/>
          </a:xfrm>
        </p:spPr>
        <p:txBody>
          <a:bodyPr rIns="251999"/>
          <a:lstStyle>
            <a:lvl1pPr>
              <a:defRPr sz="1600"/>
            </a:lvl1pPr>
            <a:lvl2pPr marL="345582">
              <a:defRPr sz="1400"/>
            </a:lvl2pPr>
            <a:lvl3pPr marL="518374">
              <a:defRPr sz="1400"/>
            </a:lvl3pPr>
            <a:lvl4pPr marL="691166">
              <a:defRPr sz="1400"/>
            </a:lvl4pPr>
            <a:lvl5pPr marL="863957">
              <a:defRPr sz="1400"/>
            </a:lvl5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1"/>
            <a:endParaRPr lang="en-GB" noProof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3246C51-A995-E64C-A68E-689809B0324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287310" y="1477928"/>
            <a:ext cx="2573002" cy="3109949"/>
          </a:xfrm>
        </p:spPr>
        <p:txBody>
          <a:bodyPr vert="horz" lIns="0" tIns="0" rIns="251999" bIns="0" rtlCol="0">
            <a:noAutofit/>
          </a:bodyPr>
          <a:lstStyle>
            <a:lvl1pPr>
              <a:defRPr lang="en-GB" sz="1600" noProof="0" dirty="0"/>
            </a:lvl1pPr>
            <a:lvl2pPr marL="338384">
              <a:defRPr lang="en-GB" sz="1400" noProof="0" dirty="0" smtClean="0"/>
            </a:lvl2pPr>
            <a:lvl3pPr marL="518374">
              <a:defRPr lang="en-GB" sz="1400" noProof="0" dirty="0" smtClean="0"/>
            </a:lvl3pPr>
            <a:lvl4pPr marL="691166">
              <a:defRPr lang="en-GB" sz="1400" noProof="0" dirty="0" smtClean="0"/>
            </a:lvl4pPr>
            <a:lvl5pPr marL="863957">
              <a:defRPr lang="en-GB" sz="1400" noProof="0" dirty="0"/>
            </a:lvl5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fi-FI" noProof="0"/>
              <a:t>Second level</a:t>
            </a:r>
          </a:p>
          <a:p>
            <a:pPr lvl="2"/>
            <a:r>
              <a:rPr lang="fi-FI" noProof="0"/>
              <a:t>Third level</a:t>
            </a:r>
          </a:p>
          <a:p>
            <a:pPr lvl="3"/>
            <a:r>
              <a:rPr lang="fi-FI" noProof="0"/>
              <a:t>Fourth level</a:t>
            </a:r>
          </a:p>
          <a:p>
            <a:pPr lvl="4"/>
            <a:r>
              <a:rPr lang="fi-FI" noProof="0"/>
              <a:t>Fifth level</a:t>
            </a:r>
            <a:endParaRPr lang="en-GB" noProof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994B6A3-5AE3-F14A-ABDC-92A6B39DEDB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994738" y="1481472"/>
            <a:ext cx="2573002" cy="3109949"/>
          </a:xfrm>
        </p:spPr>
        <p:txBody>
          <a:bodyPr vert="horz" lIns="0" tIns="0" rIns="251999" bIns="0" rtlCol="0">
            <a:noAutofit/>
          </a:bodyPr>
          <a:lstStyle>
            <a:lvl1pPr>
              <a:defRPr lang="en-GB" sz="1600" noProof="0" dirty="0"/>
            </a:lvl1pPr>
            <a:lvl2pPr marL="345582">
              <a:defRPr lang="en-GB" sz="1400" noProof="0" dirty="0" smtClean="0"/>
            </a:lvl2pPr>
            <a:lvl3pPr marL="518374">
              <a:defRPr lang="en-GB" sz="1400" noProof="0" dirty="0" smtClean="0"/>
            </a:lvl3pPr>
            <a:lvl4pPr marL="691166">
              <a:defRPr lang="en-GB" sz="1400" noProof="0" dirty="0" smtClean="0"/>
            </a:lvl4pPr>
            <a:lvl5pPr marL="863957">
              <a:defRPr lang="en-GB" sz="1400" noProof="0" dirty="0" smtClean="0"/>
            </a:lvl5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1"/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44D4AD-7034-5E45-AAAE-D685B84B781D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3" name="Text Placeholder 6" title="Logo"/>
          <p:cNvSpPr>
            <a:spLocks noGrp="1"/>
          </p:cNvSpPr>
          <p:nvPr>
            <p:ph type="body" sz="quarter" idx="22" hasCustomPrompt="1"/>
          </p:nvPr>
        </p:nvSpPr>
        <p:spPr>
          <a:xfrm>
            <a:off x="129600" y="118800"/>
            <a:ext cx="568800" cy="1404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rIns="0"/>
          <a:lstStyle>
            <a:lvl1pPr marL="0" indent="0">
              <a:buFontTx/>
              <a:buNone/>
              <a:defRPr sz="100">
                <a:solidFill>
                  <a:srgbClr val="E6E6E6"/>
                </a:solidFill>
              </a:defRPr>
            </a:lvl1pPr>
            <a:lvl2pPr marL="342884" indent="0">
              <a:buFontTx/>
              <a:buNone/>
              <a:defRPr sz="800">
                <a:solidFill>
                  <a:schemeClr val="bg2"/>
                </a:solidFill>
              </a:defRPr>
            </a:lvl2pPr>
            <a:lvl3pPr marL="685766" indent="0">
              <a:buFontTx/>
              <a:buNone/>
              <a:defRPr sz="800">
                <a:solidFill>
                  <a:schemeClr val="bg2"/>
                </a:solidFill>
              </a:defRPr>
            </a:lvl3pPr>
            <a:lvl4pPr marL="1028649" indent="0">
              <a:buFontTx/>
              <a:buNone/>
              <a:defRPr sz="800">
                <a:solidFill>
                  <a:schemeClr val="bg2"/>
                </a:solidFill>
              </a:defRPr>
            </a:lvl4pPr>
            <a:lvl5pPr marL="1371532" indent="0">
              <a:buFontTx/>
              <a:buNone/>
              <a:defRPr sz="800">
                <a:solidFill>
                  <a:schemeClr val="bg2"/>
                </a:solidFill>
              </a:defRPr>
            </a:lvl5pPr>
          </a:lstStyle>
          <a:p>
            <a:pPr lvl="0"/>
            <a:r>
              <a:rPr lang="fi-FI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2141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rgbClr val="F7EAE4">
            <a:alpha val="25098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1" y="231777"/>
            <a:ext cx="4104000" cy="2583344"/>
          </a:xfrm>
        </p:spPr>
        <p:txBody>
          <a:bodyPr anchor="b"/>
          <a:lstStyle>
            <a:lvl1pPr algn="l">
              <a:defRPr sz="4400" b="0"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6261" y="2933271"/>
            <a:ext cx="4104000" cy="1008000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accent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GB"/>
              <a:t>Click to add sub title</a:t>
            </a:r>
          </a:p>
        </p:txBody>
      </p:sp>
      <p:grpSp>
        <p:nvGrpSpPr>
          <p:cNvPr id="11" name="Logo">
            <a:extLst>
              <a:ext uri="{FF2B5EF4-FFF2-40B4-BE49-F238E27FC236}">
                <a16:creationId xmlns:a16="http://schemas.microsoft.com/office/drawing/2014/main" id="{E1AED2E5-EACC-4379-8B86-BDCC33C41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71126" y="4482250"/>
            <a:ext cx="1535077" cy="256610"/>
            <a:chOff x="301852" y="4913727"/>
            <a:chExt cx="487916" cy="81562"/>
          </a:xfrm>
          <a:solidFill>
            <a:schemeClr val="accent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9A30684-A5A5-4C39-B1C5-51CC46FDC0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958762"/>
            <a:ext cx="4104000" cy="36512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655B54"/>
                </a:solidFill>
              </a:defRPr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GB"/>
              <a:t>Click to add date and/or presenters name</a:t>
            </a:r>
          </a:p>
        </p:txBody>
      </p:sp>
      <p:sp>
        <p:nvSpPr>
          <p:cNvPr id="73" name="Dots">
            <a:extLst>
              <a:ext uri="{FF2B5EF4-FFF2-40B4-BE49-F238E27FC236}">
                <a16:creationId xmlns:a16="http://schemas.microsoft.com/office/drawing/2014/main" id="{B0423462-8FE2-4022-8D8D-6B7FE496DD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tx2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008493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1243853"/>
            <a:ext cx="3924300" cy="2655794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GB" dirty="0"/>
              <a:t>Click to add chapter number an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6B92CC9-D409-4CA2-BC27-3B3C472F90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27934" y="309264"/>
            <a:ext cx="2710869" cy="2710869"/>
          </a:xfrm>
          <a:prstGeom prst="rect">
            <a:avLst/>
          </a:prstGeom>
        </p:spPr>
      </p:pic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67484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Logo">
            <a:extLst>
              <a:ext uri="{FF2B5EF4-FFF2-40B4-BE49-F238E27FC236}">
                <a16:creationId xmlns:a16="http://schemas.microsoft.com/office/drawing/2014/main" id="{E1AED2E5-EACC-4379-8B86-BDCC33C41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71126" y="4482250"/>
            <a:ext cx="1535077" cy="256610"/>
            <a:chOff x="301852" y="4913727"/>
            <a:chExt cx="487916" cy="81562"/>
          </a:xfrm>
          <a:solidFill>
            <a:schemeClr val="bg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C7D6CCA3-D98F-4E8C-B9B8-253423212EE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1" y="231777"/>
            <a:ext cx="4104000" cy="2583344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466A57BE-C742-4942-BC2C-5CCB046B10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1" y="2933271"/>
            <a:ext cx="4104000" cy="1008000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GB"/>
              <a:t>Click to add sub title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D784ED6D-55C4-43AE-897A-8020AD869C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958762"/>
            <a:ext cx="4104000" cy="36512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EACBBB"/>
                </a:solidFill>
              </a:defRPr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GB"/>
              <a:t>Click to add date and/or presenters name</a:t>
            </a:r>
          </a:p>
        </p:txBody>
      </p:sp>
      <p:sp>
        <p:nvSpPr>
          <p:cNvPr id="39" name="Dots">
            <a:extLst>
              <a:ext uri="{FF2B5EF4-FFF2-40B4-BE49-F238E27FC236}">
                <a16:creationId xmlns:a16="http://schemas.microsoft.com/office/drawing/2014/main" id="{7E284916-3830-4B2D-96DE-5DDABBF929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tx2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060601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solidFill>
          <a:schemeClr val="bg1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1B9C4FDA-47FC-4EF4-87B8-F8831D0B6EFD}"/>
              </a:ext>
            </a:extLst>
          </p:cNvPr>
          <p:cNvSpPr/>
          <p:nvPr userDrawn="1"/>
        </p:nvSpPr>
        <p:spPr>
          <a:xfrm>
            <a:off x="5466988" y="0"/>
            <a:ext cx="3677012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9F08C50D-C580-4576-ABA3-0C6EDE50A78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34626" y="0"/>
            <a:ext cx="3711600" cy="5143500"/>
          </a:xfrm>
          <a:custGeom>
            <a:avLst/>
            <a:gdLst>
              <a:gd name="connsiteX0" fmla="*/ 142240 w 3708000"/>
              <a:gd name="connsiteY0" fmla="*/ 2070213 h 5143500"/>
              <a:gd name="connsiteX1" fmla="*/ 129373 w 3708000"/>
              <a:gd name="connsiteY1" fmla="*/ 2081770 h 5143500"/>
              <a:gd name="connsiteX2" fmla="*/ 129373 w 3708000"/>
              <a:gd name="connsiteY2" fmla="*/ 2081817 h 5143500"/>
              <a:gd name="connsiteX3" fmla="*/ 141900 w 3708000"/>
              <a:gd name="connsiteY3" fmla="*/ 2093986 h 5143500"/>
              <a:gd name="connsiteX4" fmla="*/ 154416 w 3708000"/>
              <a:gd name="connsiteY4" fmla="*/ 2082425 h 5143500"/>
              <a:gd name="connsiteX5" fmla="*/ 142240 w 3708000"/>
              <a:gd name="connsiteY5" fmla="*/ 2070213 h 5143500"/>
              <a:gd name="connsiteX6" fmla="*/ 142531 w 3708000"/>
              <a:gd name="connsiteY6" fmla="*/ 1765449 h 5143500"/>
              <a:gd name="connsiteX7" fmla="*/ 116798 w 3708000"/>
              <a:gd name="connsiteY7" fmla="*/ 1788657 h 5143500"/>
              <a:gd name="connsiteX8" fmla="*/ 116798 w 3708000"/>
              <a:gd name="connsiteY8" fmla="*/ 1788707 h 5143500"/>
              <a:gd name="connsiteX9" fmla="*/ 141899 w 3708000"/>
              <a:gd name="connsiteY9" fmla="*/ 1813090 h 5143500"/>
              <a:gd name="connsiteX10" fmla="*/ 166987 w 3708000"/>
              <a:gd name="connsiteY10" fmla="*/ 1789873 h 5143500"/>
              <a:gd name="connsiteX11" fmla="*/ 142531 w 3708000"/>
              <a:gd name="connsiteY11" fmla="*/ 1765449 h 5143500"/>
              <a:gd name="connsiteX12" fmla="*/ 142240 w 3708000"/>
              <a:gd name="connsiteY12" fmla="*/ 1484172 h 5143500"/>
              <a:gd name="connsiteX13" fmla="*/ 129373 w 3708000"/>
              <a:gd name="connsiteY13" fmla="*/ 1495729 h 5143500"/>
              <a:gd name="connsiteX14" fmla="*/ 129373 w 3708000"/>
              <a:gd name="connsiteY14" fmla="*/ 1495874 h 5143500"/>
              <a:gd name="connsiteX15" fmla="*/ 141899 w 3708000"/>
              <a:gd name="connsiteY15" fmla="*/ 1507945 h 5143500"/>
              <a:gd name="connsiteX16" fmla="*/ 154416 w 3708000"/>
              <a:gd name="connsiteY16" fmla="*/ 1496384 h 5143500"/>
              <a:gd name="connsiteX17" fmla="*/ 142240 w 3708000"/>
              <a:gd name="connsiteY17" fmla="*/ 1484172 h 5143500"/>
              <a:gd name="connsiteX18" fmla="*/ 142240 w 3708000"/>
              <a:gd name="connsiteY18" fmla="*/ 1191246 h 5143500"/>
              <a:gd name="connsiteX19" fmla="*/ 129373 w 3708000"/>
              <a:gd name="connsiteY19" fmla="*/ 1202803 h 5143500"/>
              <a:gd name="connsiteX20" fmla="*/ 129373 w 3708000"/>
              <a:gd name="connsiteY20" fmla="*/ 1202948 h 5143500"/>
              <a:gd name="connsiteX21" fmla="*/ 141899 w 3708000"/>
              <a:gd name="connsiteY21" fmla="*/ 1215019 h 5143500"/>
              <a:gd name="connsiteX22" fmla="*/ 154416 w 3708000"/>
              <a:gd name="connsiteY22" fmla="*/ 1203458 h 5143500"/>
              <a:gd name="connsiteX23" fmla="*/ 142240 w 3708000"/>
              <a:gd name="connsiteY23" fmla="*/ 1191246 h 5143500"/>
              <a:gd name="connsiteX24" fmla="*/ 142191 w 3708000"/>
              <a:gd name="connsiteY24" fmla="*/ 898320 h 5143500"/>
              <a:gd name="connsiteX25" fmla="*/ 129373 w 3708000"/>
              <a:gd name="connsiteY25" fmla="*/ 909924 h 5143500"/>
              <a:gd name="connsiteX26" fmla="*/ 141900 w 3708000"/>
              <a:gd name="connsiteY26" fmla="*/ 922093 h 5143500"/>
              <a:gd name="connsiteX27" fmla="*/ 154421 w 3708000"/>
              <a:gd name="connsiteY27" fmla="*/ 910486 h 5143500"/>
              <a:gd name="connsiteX28" fmla="*/ 142191 w 3708000"/>
              <a:gd name="connsiteY28" fmla="*/ 898320 h 5143500"/>
              <a:gd name="connsiteX29" fmla="*/ 142486 w 3708000"/>
              <a:gd name="connsiteY29" fmla="*/ 593738 h 5143500"/>
              <a:gd name="connsiteX30" fmla="*/ 116798 w 3708000"/>
              <a:gd name="connsiteY30" fmla="*/ 616998 h 5143500"/>
              <a:gd name="connsiteX31" fmla="*/ 141900 w 3708000"/>
              <a:gd name="connsiteY31" fmla="*/ 641384 h 5143500"/>
              <a:gd name="connsiteX32" fmla="*/ 166986 w 3708000"/>
              <a:gd name="connsiteY32" fmla="*/ 618121 h 5143500"/>
              <a:gd name="connsiteX33" fmla="*/ 142486 w 3708000"/>
              <a:gd name="connsiteY33" fmla="*/ 593738 h 5143500"/>
              <a:gd name="connsiteX34" fmla="*/ 142191 w 3708000"/>
              <a:gd name="connsiteY34" fmla="*/ 312467 h 5143500"/>
              <a:gd name="connsiteX35" fmla="*/ 129373 w 3708000"/>
              <a:gd name="connsiteY35" fmla="*/ 324071 h 5143500"/>
              <a:gd name="connsiteX36" fmla="*/ 141900 w 3708000"/>
              <a:gd name="connsiteY36" fmla="*/ 336240 h 5143500"/>
              <a:gd name="connsiteX37" fmla="*/ 154421 w 3708000"/>
              <a:gd name="connsiteY37" fmla="*/ 324633 h 5143500"/>
              <a:gd name="connsiteX38" fmla="*/ 142191 w 3708000"/>
              <a:gd name="connsiteY38" fmla="*/ 312467 h 5143500"/>
              <a:gd name="connsiteX39" fmla="*/ 0 w 3708000"/>
              <a:gd name="connsiteY39" fmla="*/ 0 h 5143500"/>
              <a:gd name="connsiteX40" fmla="*/ 3708000 w 3708000"/>
              <a:gd name="connsiteY40" fmla="*/ 0 h 5143500"/>
              <a:gd name="connsiteX41" fmla="*/ 3708000 w 3708000"/>
              <a:gd name="connsiteY41" fmla="*/ 5143500 h 5143500"/>
              <a:gd name="connsiteX42" fmla="*/ 0 w 3708000"/>
              <a:gd name="connsiteY4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3708000" h="5143500">
                <a:moveTo>
                  <a:pt x="142240" y="2070213"/>
                </a:moveTo>
                <a:cubicBezTo>
                  <a:pt x="135327" y="2070030"/>
                  <a:pt x="129566" y="2075207"/>
                  <a:pt x="129373" y="2081770"/>
                </a:cubicBezTo>
                <a:cubicBezTo>
                  <a:pt x="129373" y="2081784"/>
                  <a:pt x="129373" y="2081802"/>
                  <a:pt x="129373" y="2081817"/>
                </a:cubicBezTo>
                <a:cubicBezTo>
                  <a:pt x="129289" y="2088463"/>
                  <a:pt x="134903" y="2093912"/>
                  <a:pt x="141900" y="2093986"/>
                </a:cubicBezTo>
                <a:cubicBezTo>
                  <a:pt x="148681" y="2093982"/>
                  <a:pt x="154228" y="2088862"/>
                  <a:pt x="154416" y="2082425"/>
                </a:cubicBezTo>
                <a:cubicBezTo>
                  <a:pt x="154608" y="2075863"/>
                  <a:pt x="149155" y="2070395"/>
                  <a:pt x="142240" y="2070213"/>
                </a:cubicBezTo>
                <a:close/>
                <a:moveTo>
                  <a:pt x="142531" y="1765449"/>
                </a:moveTo>
                <a:cubicBezTo>
                  <a:pt x="128673" y="1765111"/>
                  <a:pt x="117153" y="1775503"/>
                  <a:pt x="116798" y="1788657"/>
                </a:cubicBezTo>
                <a:cubicBezTo>
                  <a:pt x="116798" y="1788675"/>
                  <a:pt x="116798" y="1788689"/>
                  <a:pt x="116798" y="1788707"/>
                </a:cubicBezTo>
                <a:cubicBezTo>
                  <a:pt x="116635" y="1802020"/>
                  <a:pt x="127874" y="1812936"/>
                  <a:pt x="141899" y="1813090"/>
                </a:cubicBezTo>
                <a:cubicBezTo>
                  <a:pt x="155511" y="1813086"/>
                  <a:pt x="166635" y="1802788"/>
                  <a:pt x="166987" y="1789873"/>
                </a:cubicBezTo>
                <a:cubicBezTo>
                  <a:pt x="167337" y="1776720"/>
                  <a:pt x="156393" y="1765781"/>
                  <a:pt x="142531" y="1765449"/>
                </a:cubicBezTo>
                <a:close/>
                <a:moveTo>
                  <a:pt x="142240" y="1484172"/>
                </a:moveTo>
                <a:cubicBezTo>
                  <a:pt x="135326" y="1483989"/>
                  <a:pt x="129565" y="1489166"/>
                  <a:pt x="129373" y="1495729"/>
                </a:cubicBezTo>
                <a:cubicBezTo>
                  <a:pt x="129373" y="1495776"/>
                  <a:pt x="129373" y="1495823"/>
                  <a:pt x="129373" y="1495874"/>
                </a:cubicBezTo>
                <a:cubicBezTo>
                  <a:pt x="129319" y="1502488"/>
                  <a:pt x="134926" y="1507895"/>
                  <a:pt x="141899" y="1507945"/>
                </a:cubicBezTo>
                <a:cubicBezTo>
                  <a:pt x="148680" y="1507941"/>
                  <a:pt x="154228" y="1502821"/>
                  <a:pt x="154416" y="1496384"/>
                </a:cubicBezTo>
                <a:cubicBezTo>
                  <a:pt x="154608" y="1489822"/>
                  <a:pt x="149154" y="1484354"/>
                  <a:pt x="142240" y="1484172"/>
                </a:cubicBezTo>
                <a:close/>
                <a:moveTo>
                  <a:pt x="142240" y="1191246"/>
                </a:moveTo>
                <a:cubicBezTo>
                  <a:pt x="135326" y="1191064"/>
                  <a:pt x="129565" y="1196240"/>
                  <a:pt x="129373" y="1202803"/>
                </a:cubicBezTo>
                <a:cubicBezTo>
                  <a:pt x="129373" y="1202850"/>
                  <a:pt x="129373" y="1202897"/>
                  <a:pt x="129373" y="1202948"/>
                </a:cubicBezTo>
                <a:cubicBezTo>
                  <a:pt x="129319" y="1209562"/>
                  <a:pt x="134926" y="1214969"/>
                  <a:pt x="141899" y="1215019"/>
                </a:cubicBezTo>
                <a:cubicBezTo>
                  <a:pt x="148680" y="1215015"/>
                  <a:pt x="154228" y="1209895"/>
                  <a:pt x="154416" y="1203458"/>
                </a:cubicBezTo>
                <a:cubicBezTo>
                  <a:pt x="154608" y="1196896"/>
                  <a:pt x="149154" y="1191428"/>
                  <a:pt x="142240" y="1191246"/>
                </a:cubicBezTo>
                <a:close/>
                <a:moveTo>
                  <a:pt x="142191" y="898320"/>
                </a:moveTo>
                <a:cubicBezTo>
                  <a:pt x="135277" y="898165"/>
                  <a:pt x="129537" y="903361"/>
                  <a:pt x="129373" y="909924"/>
                </a:cubicBezTo>
                <a:cubicBezTo>
                  <a:pt x="129294" y="916570"/>
                  <a:pt x="134903" y="922019"/>
                  <a:pt x="141900" y="922093"/>
                </a:cubicBezTo>
                <a:cubicBezTo>
                  <a:pt x="148701" y="922093"/>
                  <a:pt x="154258" y="916941"/>
                  <a:pt x="154421" y="910486"/>
                </a:cubicBezTo>
                <a:cubicBezTo>
                  <a:pt x="154583" y="903923"/>
                  <a:pt x="149109" y="898474"/>
                  <a:pt x="142191" y="898320"/>
                </a:cubicBezTo>
                <a:close/>
                <a:moveTo>
                  <a:pt x="142486" y="593738"/>
                </a:moveTo>
                <a:cubicBezTo>
                  <a:pt x="128623" y="593429"/>
                  <a:pt x="117123" y="603844"/>
                  <a:pt x="116798" y="616998"/>
                </a:cubicBezTo>
                <a:cubicBezTo>
                  <a:pt x="116660" y="630301"/>
                  <a:pt x="127884" y="641207"/>
                  <a:pt x="141900" y="641384"/>
                </a:cubicBezTo>
                <a:cubicBezTo>
                  <a:pt x="155531" y="641381"/>
                  <a:pt x="166666" y="631054"/>
                  <a:pt x="166986" y="618121"/>
                </a:cubicBezTo>
                <a:cubicBezTo>
                  <a:pt x="167312" y="604968"/>
                  <a:pt x="156344" y="594052"/>
                  <a:pt x="142486" y="593738"/>
                </a:cubicBezTo>
                <a:close/>
                <a:moveTo>
                  <a:pt x="142191" y="312467"/>
                </a:moveTo>
                <a:cubicBezTo>
                  <a:pt x="135277" y="312312"/>
                  <a:pt x="129537" y="317508"/>
                  <a:pt x="129373" y="324071"/>
                </a:cubicBezTo>
                <a:cubicBezTo>
                  <a:pt x="129294" y="330717"/>
                  <a:pt x="134903" y="336166"/>
                  <a:pt x="141900" y="336240"/>
                </a:cubicBezTo>
                <a:cubicBezTo>
                  <a:pt x="148701" y="336240"/>
                  <a:pt x="154258" y="331088"/>
                  <a:pt x="154421" y="324633"/>
                </a:cubicBezTo>
                <a:cubicBezTo>
                  <a:pt x="154583" y="318071"/>
                  <a:pt x="149109" y="312621"/>
                  <a:pt x="142191" y="312467"/>
                </a:cubicBezTo>
                <a:close/>
                <a:moveTo>
                  <a:pt x="0" y="0"/>
                </a:moveTo>
                <a:lnTo>
                  <a:pt x="3708000" y="0"/>
                </a:lnTo>
                <a:lnTo>
                  <a:pt x="3708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38" name="Dots">
            <a:extLst>
              <a:ext uri="{FF2B5EF4-FFF2-40B4-BE49-F238E27FC236}">
                <a16:creationId xmlns:a16="http://schemas.microsoft.com/office/drawing/2014/main" id="{73DE4581-E0EA-4A8F-A722-4EDE83490D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3783671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tx2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1" y="231777"/>
            <a:ext cx="4104000" cy="2583344"/>
          </a:xfrm>
        </p:spPr>
        <p:txBody>
          <a:bodyPr anchor="b"/>
          <a:lstStyle>
            <a:lvl1pPr algn="l"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6261" y="2933271"/>
            <a:ext cx="4104000" cy="1008000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accent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GB"/>
              <a:t>Click to add sub title</a:t>
            </a:r>
          </a:p>
        </p:txBody>
      </p:sp>
      <p:grpSp>
        <p:nvGrpSpPr>
          <p:cNvPr id="11" name="Logo">
            <a:extLst>
              <a:ext uri="{FF2B5EF4-FFF2-40B4-BE49-F238E27FC236}">
                <a16:creationId xmlns:a16="http://schemas.microsoft.com/office/drawing/2014/main" id="{E1AED2E5-EACC-4379-8B86-BDCC33C41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71126" y="4482250"/>
            <a:ext cx="1535077" cy="256610"/>
            <a:chOff x="301852" y="4913727"/>
            <a:chExt cx="487916" cy="81562"/>
          </a:xfrm>
          <a:solidFill>
            <a:schemeClr val="accent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9A30684-A5A5-4C39-B1C5-51CC46FDC0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958762"/>
            <a:ext cx="4104000" cy="36512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655B54"/>
                </a:solidFill>
              </a:defRPr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GB"/>
              <a:t>Click to add date and/or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89739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30CC86D-A9F1-4C7F-8A8B-0E2535F8A86C}"/>
              </a:ext>
            </a:extLst>
          </p:cNvPr>
          <p:cNvSpPr/>
          <p:nvPr userDrawn="1"/>
        </p:nvSpPr>
        <p:spPr>
          <a:xfrm>
            <a:off x="5466988" y="0"/>
            <a:ext cx="3677012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6" name="Picture Placeholder 75">
            <a:extLst>
              <a:ext uri="{FF2B5EF4-FFF2-40B4-BE49-F238E27FC236}">
                <a16:creationId xmlns:a16="http://schemas.microsoft.com/office/drawing/2014/main" id="{C0D90AE0-1FCB-4D84-ABAD-75632D77D5F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34626" y="0"/>
            <a:ext cx="3711600" cy="5143500"/>
          </a:xfrm>
          <a:custGeom>
            <a:avLst/>
            <a:gdLst>
              <a:gd name="connsiteX0" fmla="*/ 142240 w 3708000"/>
              <a:gd name="connsiteY0" fmla="*/ 2070213 h 5143500"/>
              <a:gd name="connsiteX1" fmla="*/ 129373 w 3708000"/>
              <a:gd name="connsiteY1" fmla="*/ 2081770 h 5143500"/>
              <a:gd name="connsiteX2" fmla="*/ 129373 w 3708000"/>
              <a:gd name="connsiteY2" fmla="*/ 2081817 h 5143500"/>
              <a:gd name="connsiteX3" fmla="*/ 141900 w 3708000"/>
              <a:gd name="connsiteY3" fmla="*/ 2093986 h 5143500"/>
              <a:gd name="connsiteX4" fmla="*/ 154416 w 3708000"/>
              <a:gd name="connsiteY4" fmla="*/ 2082425 h 5143500"/>
              <a:gd name="connsiteX5" fmla="*/ 142240 w 3708000"/>
              <a:gd name="connsiteY5" fmla="*/ 2070213 h 5143500"/>
              <a:gd name="connsiteX6" fmla="*/ 142531 w 3708000"/>
              <a:gd name="connsiteY6" fmla="*/ 1765449 h 5143500"/>
              <a:gd name="connsiteX7" fmla="*/ 116798 w 3708000"/>
              <a:gd name="connsiteY7" fmla="*/ 1788657 h 5143500"/>
              <a:gd name="connsiteX8" fmla="*/ 116798 w 3708000"/>
              <a:gd name="connsiteY8" fmla="*/ 1788707 h 5143500"/>
              <a:gd name="connsiteX9" fmla="*/ 141899 w 3708000"/>
              <a:gd name="connsiteY9" fmla="*/ 1813090 h 5143500"/>
              <a:gd name="connsiteX10" fmla="*/ 166987 w 3708000"/>
              <a:gd name="connsiteY10" fmla="*/ 1789873 h 5143500"/>
              <a:gd name="connsiteX11" fmla="*/ 142531 w 3708000"/>
              <a:gd name="connsiteY11" fmla="*/ 1765449 h 5143500"/>
              <a:gd name="connsiteX12" fmla="*/ 142240 w 3708000"/>
              <a:gd name="connsiteY12" fmla="*/ 1484172 h 5143500"/>
              <a:gd name="connsiteX13" fmla="*/ 129373 w 3708000"/>
              <a:gd name="connsiteY13" fmla="*/ 1495729 h 5143500"/>
              <a:gd name="connsiteX14" fmla="*/ 129373 w 3708000"/>
              <a:gd name="connsiteY14" fmla="*/ 1495874 h 5143500"/>
              <a:gd name="connsiteX15" fmla="*/ 141899 w 3708000"/>
              <a:gd name="connsiteY15" fmla="*/ 1507945 h 5143500"/>
              <a:gd name="connsiteX16" fmla="*/ 154416 w 3708000"/>
              <a:gd name="connsiteY16" fmla="*/ 1496384 h 5143500"/>
              <a:gd name="connsiteX17" fmla="*/ 142240 w 3708000"/>
              <a:gd name="connsiteY17" fmla="*/ 1484172 h 5143500"/>
              <a:gd name="connsiteX18" fmla="*/ 142240 w 3708000"/>
              <a:gd name="connsiteY18" fmla="*/ 1191246 h 5143500"/>
              <a:gd name="connsiteX19" fmla="*/ 129373 w 3708000"/>
              <a:gd name="connsiteY19" fmla="*/ 1202803 h 5143500"/>
              <a:gd name="connsiteX20" fmla="*/ 129373 w 3708000"/>
              <a:gd name="connsiteY20" fmla="*/ 1202948 h 5143500"/>
              <a:gd name="connsiteX21" fmla="*/ 141899 w 3708000"/>
              <a:gd name="connsiteY21" fmla="*/ 1215019 h 5143500"/>
              <a:gd name="connsiteX22" fmla="*/ 154416 w 3708000"/>
              <a:gd name="connsiteY22" fmla="*/ 1203458 h 5143500"/>
              <a:gd name="connsiteX23" fmla="*/ 142240 w 3708000"/>
              <a:gd name="connsiteY23" fmla="*/ 1191246 h 5143500"/>
              <a:gd name="connsiteX24" fmla="*/ 142191 w 3708000"/>
              <a:gd name="connsiteY24" fmla="*/ 898320 h 5143500"/>
              <a:gd name="connsiteX25" fmla="*/ 129373 w 3708000"/>
              <a:gd name="connsiteY25" fmla="*/ 909924 h 5143500"/>
              <a:gd name="connsiteX26" fmla="*/ 141900 w 3708000"/>
              <a:gd name="connsiteY26" fmla="*/ 922093 h 5143500"/>
              <a:gd name="connsiteX27" fmla="*/ 154421 w 3708000"/>
              <a:gd name="connsiteY27" fmla="*/ 910486 h 5143500"/>
              <a:gd name="connsiteX28" fmla="*/ 142191 w 3708000"/>
              <a:gd name="connsiteY28" fmla="*/ 898320 h 5143500"/>
              <a:gd name="connsiteX29" fmla="*/ 142486 w 3708000"/>
              <a:gd name="connsiteY29" fmla="*/ 593738 h 5143500"/>
              <a:gd name="connsiteX30" fmla="*/ 116798 w 3708000"/>
              <a:gd name="connsiteY30" fmla="*/ 616998 h 5143500"/>
              <a:gd name="connsiteX31" fmla="*/ 141900 w 3708000"/>
              <a:gd name="connsiteY31" fmla="*/ 641384 h 5143500"/>
              <a:gd name="connsiteX32" fmla="*/ 166986 w 3708000"/>
              <a:gd name="connsiteY32" fmla="*/ 618121 h 5143500"/>
              <a:gd name="connsiteX33" fmla="*/ 142486 w 3708000"/>
              <a:gd name="connsiteY33" fmla="*/ 593738 h 5143500"/>
              <a:gd name="connsiteX34" fmla="*/ 142191 w 3708000"/>
              <a:gd name="connsiteY34" fmla="*/ 312467 h 5143500"/>
              <a:gd name="connsiteX35" fmla="*/ 129373 w 3708000"/>
              <a:gd name="connsiteY35" fmla="*/ 324071 h 5143500"/>
              <a:gd name="connsiteX36" fmla="*/ 141900 w 3708000"/>
              <a:gd name="connsiteY36" fmla="*/ 336240 h 5143500"/>
              <a:gd name="connsiteX37" fmla="*/ 154421 w 3708000"/>
              <a:gd name="connsiteY37" fmla="*/ 324633 h 5143500"/>
              <a:gd name="connsiteX38" fmla="*/ 142191 w 3708000"/>
              <a:gd name="connsiteY38" fmla="*/ 312467 h 5143500"/>
              <a:gd name="connsiteX39" fmla="*/ 0 w 3708000"/>
              <a:gd name="connsiteY39" fmla="*/ 0 h 5143500"/>
              <a:gd name="connsiteX40" fmla="*/ 3708000 w 3708000"/>
              <a:gd name="connsiteY40" fmla="*/ 0 h 5143500"/>
              <a:gd name="connsiteX41" fmla="*/ 3708000 w 3708000"/>
              <a:gd name="connsiteY41" fmla="*/ 5143500 h 5143500"/>
              <a:gd name="connsiteX42" fmla="*/ 0 w 3708000"/>
              <a:gd name="connsiteY4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3708000" h="5143500">
                <a:moveTo>
                  <a:pt x="142240" y="2070213"/>
                </a:moveTo>
                <a:cubicBezTo>
                  <a:pt x="135327" y="2070030"/>
                  <a:pt x="129566" y="2075207"/>
                  <a:pt x="129373" y="2081770"/>
                </a:cubicBezTo>
                <a:cubicBezTo>
                  <a:pt x="129373" y="2081784"/>
                  <a:pt x="129373" y="2081802"/>
                  <a:pt x="129373" y="2081817"/>
                </a:cubicBezTo>
                <a:cubicBezTo>
                  <a:pt x="129289" y="2088463"/>
                  <a:pt x="134903" y="2093912"/>
                  <a:pt x="141900" y="2093986"/>
                </a:cubicBezTo>
                <a:cubicBezTo>
                  <a:pt x="148681" y="2093982"/>
                  <a:pt x="154228" y="2088862"/>
                  <a:pt x="154416" y="2082425"/>
                </a:cubicBezTo>
                <a:cubicBezTo>
                  <a:pt x="154608" y="2075863"/>
                  <a:pt x="149155" y="2070395"/>
                  <a:pt x="142240" y="2070213"/>
                </a:cubicBezTo>
                <a:close/>
                <a:moveTo>
                  <a:pt x="142531" y="1765449"/>
                </a:moveTo>
                <a:cubicBezTo>
                  <a:pt x="128673" y="1765111"/>
                  <a:pt x="117153" y="1775503"/>
                  <a:pt x="116798" y="1788657"/>
                </a:cubicBezTo>
                <a:cubicBezTo>
                  <a:pt x="116798" y="1788675"/>
                  <a:pt x="116798" y="1788689"/>
                  <a:pt x="116798" y="1788707"/>
                </a:cubicBezTo>
                <a:cubicBezTo>
                  <a:pt x="116635" y="1802020"/>
                  <a:pt x="127874" y="1812936"/>
                  <a:pt x="141899" y="1813090"/>
                </a:cubicBezTo>
                <a:cubicBezTo>
                  <a:pt x="155511" y="1813086"/>
                  <a:pt x="166635" y="1802788"/>
                  <a:pt x="166987" y="1789873"/>
                </a:cubicBezTo>
                <a:cubicBezTo>
                  <a:pt x="167337" y="1776720"/>
                  <a:pt x="156393" y="1765781"/>
                  <a:pt x="142531" y="1765449"/>
                </a:cubicBezTo>
                <a:close/>
                <a:moveTo>
                  <a:pt x="142240" y="1484172"/>
                </a:moveTo>
                <a:cubicBezTo>
                  <a:pt x="135326" y="1483989"/>
                  <a:pt x="129565" y="1489166"/>
                  <a:pt x="129373" y="1495729"/>
                </a:cubicBezTo>
                <a:cubicBezTo>
                  <a:pt x="129373" y="1495776"/>
                  <a:pt x="129373" y="1495823"/>
                  <a:pt x="129373" y="1495874"/>
                </a:cubicBezTo>
                <a:cubicBezTo>
                  <a:pt x="129319" y="1502488"/>
                  <a:pt x="134926" y="1507895"/>
                  <a:pt x="141899" y="1507945"/>
                </a:cubicBezTo>
                <a:cubicBezTo>
                  <a:pt x="148680" y="1507941"/>
                  <a:pt x="154228" y="1502821"/>
                  <a:pt x="154416" y="1496384"/>
                </a:cubicBezTo>
                <a:cubicBezTo>
                  <a:pt x="154608" y="1489822"/>
                  <a:pt x="149154" y="1484354"/>
                  <a:pt x="142240" y="1484172"/>
                </a:cubicBezTo>
                <a:close/>
                <a:moveTo>
                  <a:pt x="142240" y="1191246"/>
                </a:moveTo>
                <a:cubicBezTo>
                  <a:pt x="135326" y="1191064"/>
                  <a:pt x="129565" y="1196240"/>
                  <a:pt x="129373" y="1202803"/>
                </a:cubicBezTo>
                <a:cubicBezTo>
                  <a:pt x="129373" y="1202850"/>
                  <a:pt x="129373" y="1202897"/>
                  <a:pt x="129373" y="1202948"/>
                </a:cubicBezTo>
                <a:cubicBezTo>
                  <a:pt x="129319" y="1209562"/>
                  <a:pt x="134926" y="1214969"/>
                  <a:pt x="141899" y="1215019"/>
                </a:cubicBezTo>
                <a:cubicBezTo>
                  <a:pt x="148680" y="1215015"/>
                  <a:pt x="154228" y="1209895"/>
                  <a:pt x="154416" y="1203458"/>
                </a:cubicBezTo>
                <a:cubicBezTo>
                  <a:pt x="154608" y="1196896"/>
                  <a:pt x="149154" y="1191428"/>
                  <a:pt x="142240" y="1191246"/>
                </a:cubicBezTo>
                <a:close/>
                <a:moveTo>
                  <a:pt x="142191" y="898320"/>
                </a:moveTo>
                <a:cubicBezTo>
                  <a:pt x="135277" y="898165"/>
                  <a:pt x="129537" y="903361"/>
                  <a:pt x="129373" y="909924"/>
                </a:cubicBezTo>
                <a:cubicBezTo>
                  <a:pt x="129294" y="916570"/>
                  <a:pt x="134903" y="922019"/>
                  <a:pt x="141900" y="922093"/>
                </a:cubicBezTo>
                <a:cubicBezTo>
                  <a:pt x="148701" y="922093"/>
                  <a:pt x="154258" y="916941"/>
                  <a:pt x="154421" y="910486"/>
                </a:cubicBezTo>
                <a:cubicBezTo>
                  <a:pt x="154583" y="903923"/>
                  <a:pt x="149109" y="898474"/>
                  <a:pt x="142191" y="898320"/>
                </a:cubicBezTo>
                <a:close/>
                <a:moveTo>
                  <a:pt x="142486" y="593738"/>
                </a:moveTo>
                <a:cubicBezTo>
                  <a:pt x="128623" y="593429"/>
                  <a:pt x="117123" y="603844"/>
                  <a:pt x="116798" y="616998"/>
                </a:cubicBezTo>
                <a:cubicBezTo>
                  <a:pt x="116660" y="630301"/>
                  <a:pt x="127884" y="641207"/>
                  <a:pt x="141900" y="641384"/>
                </a:cubicBezTo>
                <a:cubicBezTo>
                  <a:pt x="155531" y="641381"/>
                  <a:pt x="166666" y="631054"/>
                  <a:pt x="166986" y="618121"/>
                </a:cubicBezTo>
                <a:cubicBezTo>
                  <a:pt x="167312" y="604968"/>
                  <a:pt x="156344" y="594052"/>
                  <a:pt x="142486" y="593738"/>
                </a:cubicBezTo>
                <a:close/>
                <a:moveTo>
                  <a:pt x="142191" y="312467"/>
                </a:moveTo>
                <a:cubicBezTo>
                  <a:pt x="135277" y="312312"/>
                  <a:pt x="129537" y="317508"/>
                  <a:pt x="129373" y="324071"/>
                </a:cubicBezTo>
                <a:cubicBezTo>
                  <a:pt x="129294" y="330717"/>
                  <a:pt x="134903" y="336166"/>
                  <a:pt x="141900" y="336240"/>
                </a:cubicBezTo>
                <a:cubicBezTo>
                  <a:pt x="148701" y="336240"/>
                  <a:pt x="154258" y="331088"/>
                  <a:pt x="154421" y="324633"/>
                </a:cubicBezTo>
                <a:cubicBezTo>
                  <a:pt x="154583" y="318071"/>
                  <a:pt x="149109" y="312621"/>
                  <a:pt x="142191" y="312467"/>
                </a:cubicBezTo>
                <a:close/>
                <a:moveTo>
                  <a:pt x="0" y="0"/>
                </a:moveTo>
                <a:lnTo>
                  <a:pt x="3708000" y="0"/>
                </a:lnTo>
                <a:lnTo>
                  <a:pt x="3708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75" name="Dots">
            <a:extLst>
              <a:ext uri="{FF2B5EF4-FFF2-40B4-BE49-F238E27FC236}">
                <a16:creationId xmlns:a16="http://schemas.microsoft.com/office/drawing/2014/main" id="{2E3B1537-5542-4DE2-9E35-373E9D811F5A}"/>
              </a:ext>
            </a:extLst>
          </p:cNvPr>
          <p:cNvSpPr/>
          <p:nvPr userDrawn="1"/>
        </p:nvSpPr>
        <p:spPr>
          <a:xfrm rot="16200000">
            <a:off x="3783671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tx2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E1AED2E5-EACC-4379-8B86-BDCC33C41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71126" y="4482250"/>
            <a:ext cx="1535077" cy="256610"/>
            <a:chOff x="301852" y="4913727"/>
            <a:chExt cx="487916" cy="81562"/>
          </a:xfrm>
          <a:solidFill>
            <a:schemeClr val="bg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1" y="231777"/>
            <a:ext cx="4104000" cy="2583344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A3928A5-23A9-42AB-BE2A-254DDB2EE1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1" y="2933271"/>
            <a:ext cx="4104000" cy="1008000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GB"/>
              <a:t>Click to add sub title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2B055659-967E-4FB4-B761-219916CE0D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958762"/>
            <a:ext cx="4104000" cy="36512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EACBBB"/>
                </a:solidFill>
              </a:defRPr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GB"/>
              <a:t>Click to add date and/or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3673800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3273091" cy="143986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title for example Agenda</a:t>
            </a:r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A9A9A9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5" name="Dots">
            <a:extLst>
              <a:ext uri="{FF2B5EF4-FFF2-40B4-BE49-F238E27FC236}">
                <a16:creationId xmlns:a16="http://schemas.microsoft.com/office/drawing/2014/main" id="{7EB53862-94DA-442E-9BA3-F56AE08555A8}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tx2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93DDC7-6347-4E7C-80D6-CA23706A06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87788" y="231774"/>
            <a:ext cx="3276600" cy="4680000"/>
          </a:xfrm>
        </p:spPr>
        <p:txBody>
          <a:bodyPr anchor="ctr"/>
          <a:lstStyle>
            <a:lvl1pPr marL="239707" indent="-239707">
              <a:buClr>
                <a:schemeClr val="tx2"/>
              </a:buClr>
              <a:buFont typeface="+mj-lt"/>
              <a:buAutoNum type="arabicPeriod"/>
              <a:defRPr>
                <a:solidFill>
                  <a:schemeClr val="accent1"/>
                </a:solidFill>
              </a:defRPr>
            </a:lvl1pPr>
            <a:lvl2pPr marL="407978" indent="-173034">
              <a:buClr>
                <a:schemeClr val="tx2"/>
              </a:buClr>
              <a:buFont typeface="+mj-lt"/>
              <a:buAutoNum type="arabicPeriod"/>
              <a:defRPr>
                <a:solidFill>
                  <a:schemeClr val="accent1"/>
                </a:solidFill>
              </a:defRPr>
            </a:lvl2pPr>
            <a:lvl3pPr marL="587360" indent="-174621">
              <a:buClr>
                <a:schemeClr val="tx2"/>
              </a:buClr>
              <a:buFont typeface="+mj-lt"/>
              <a:buAutoNum type="arabicPeriod"/>
              <a:defRPr>
                <a:solidFill>
                  <a:schemeClr val="accent1"/>
                </a:solidFill>
              </a:defRPr>
            </a:lvl3pPr>
            <a:lvl4pPr marL="768331" indent="-188909">
              <a:buClr>
                <a:schemeClr val="tx2"/>
              </a:buClr>
              <a:buFont typeface="+mj-lt"/>
              <a:buAutoNum type="arabicPeriod"/>
              <a:defRPr>
                <a:solidFill>
                  <a:schemeClr val="accent1"/>
                </a:solidFill>
              </a:defRPr>
            </a:lvl4pPr>
            <a:lvl5pPr marL="946127" indent="-177796">
              <a:buClr>
                <a:schemeClr val="tx2"/>
              </a:buClr>
              <a:buFont typeface="+mj-lt"/>
              <a:buAutoNum type="arabicPeriod"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DC43ACE-919E-4F14-B57A-476B078BDAD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8C85202-0B59-48F2-8674-991A71F862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C77536-C884-4A81-AE68-002872FF97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155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3" pos="4513">
          <p15:clr>
            <a:srgbClr val="FBAE40"/>
          </p15:clr>
        </p15:guide>
        <p15:guide id="4" pos="2245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3273091" cy="1439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 for example Agenda</a:t>
            </a:r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5" name="Dots">
            <a:extLst>
              <a:ext uri="{FF2B5EF4-FFF2-40B4-BE49-F238E27FC236}">
                <a16:creationId xmlns:a16="http://schemas.microsoft.com/office/drawing/2014/main" id="{7EB53862-94DA-442E-9BA3-F56AE08555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tx2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93DDC7-6347-4E7C-80D6-CA23706A06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87788" y="231774"/>
            <a:ext cx="3276600" cy="4680000"/>
          </a:xfrm>
        </p:spPr>
        <p:txBody>
          <a:bodyPr anchor="ctr"/>
          <a:lstStyle>
            <a:lvl1pPr marL="239707" indent="-239707">
              <a:buClr>
                <a:schemeClr val="tx2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407978" indent="-173034">
              <a:buClr>
                <a:schemeClr val="tx2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2pPr>
            <a:lvl3pPr marL="587360" indent="-174621">
              <a:buClr>
                <a:schemeClr val="tx2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768331" indent="-188909">
              <a:buClr>
                <a:schemeClr val="tx2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946127" indent="-177796">
              <a:buClr>
                <a:schemeClr val="tx2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DC43ACE-919E-4F14-B57A-476B078BDAD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8C85202-0B59-48F2-8674-991A71F862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C77536-C884-4A81-AE68-002872FF97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9095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3" pos="4513">
          <p15:clr>
            <a:srgbClr val="FBAE40"/>
          </p15:clr>
        </p15:guide>
        <p15:guide id="4" pos="2245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bg>
      <p:bgPr>
        <a:solidFill>
          <a:schemeClr val="accent6">
            <a:alpha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3273091" cy="1439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 for example Agenda</a:t>
            </a:r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C4C1BE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5" name="Dots">
            <a:extLst>
              <a:ext uri="{FF2B5EF4-FFF2-40B4-BE49-F238E27FC236}">
                <a16:creationId xmlns:a16="http://schemas.microsoft.com/office/drawing/2014/main" id="{7EB53862-94DA-442E-9BA3-F56AE08555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rgbClr val="E9EC6B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93DDC7-6347-4E7C-80D6-CA23706A06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87788" y="231774"/>
            <a:ext cx="3276600" cy="4680000"/>
          </a:xfrm>
        </p:spPr>
        <p:txBody>
          <a:bodyPr anchor="ctr"/>
          <a:lstStyle>
            <a:lvl1pPr marL="239707" indent="-239707">
              <a:buClr>
                <a:srgbClr val="E9EC6B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407978" indent="-173034">
              <a:buClr>
                <a:srgbClr val="E9EC6B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2pPr>
            <a:lvl3pPr marL="587360" indent="-174621">
              <a:buClr>
                <a:srgbClr val="E9EC6B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768331" indent="-188909">
              <a:buClr>
                <a:srgbClr val="E9EC6B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946127" indent="-177796">
              <a:buClr>
                <a:srgbClr val="E9EC6B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DC43ACE-919E-4F14-B57A-476B078BDAD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C4C1BE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8C85202-0B59-48F2-8674-991A71F862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C4C1BE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C77536-C884-4A81-AE68-002872FF97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C4C1BE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0933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3" pos="4513">
          <p15:clr>
            <a:srgbClr val="FBAE40"/>
          </p15:clr>
        </p15:guide>
        <p15:guide id="4" pos="2245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s slide 1">
    <p:bg>
      <p:bgPr>
        <a:solidFill>
          <a:schemeClr val="accent5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6A2EB4F0-1242-4B37-82D8-85D39CC7DC7D}"/>
              </a:ext>
            </a:extLst>
          </p:cNvPr>
          <p:cNvSpPr/>
          <p:nvPr userDrawn="1"/>
        </p:nvSpPr>
        <p:spPr>
          <a:xfrm>
            <a:off x="5943600" y="1078087"/>
            <a:ext cx="2462674" cy="326757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Picture Placeholder 58">
            <a:extLst>
              <a:ext uri="{FF2B5EF4-FFF2-40B4-BE49-F238E27FC236}">
                <a16:creationId xmlns:a16="http://schemas.microsoft.com/office/drawing/2014/main" id="{1CA0517D-045A-4564-9B4D-F22051D254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15026" y="1050926"/>
            <a:ext cx="2524125" cy="3338513"/>
          </a:xfrm>
          <a:custGeom>
            <a:avLst/>
            <a:gdLst>
              <a:gd name="connsiteX0" fmla="*/ 2313456 w 2524125"/>
              <a:gd name="connsiteY0" fmla="*/ 433154 h 3338513"/>
              <a:gd name="connsiteX1" fmla="*/ 2300590 w 2524125"/>
              <a:gd name="connsiteY1" fmla="*/ 444804 h 3338513"/>
              <a:gd name="connsiteX2" fmla="*/ 2300590 w 2524125"/>
              <a:gd name="connsiteY2" fmla="*/ 444851 h 3338513"/>
              <a:gd name="connsiteX3" fmla="*/ 2313116 w 2524125"/>
              <a:gd name="connsiteY3" fmla="*/ 457021 h 3338513"/>
              <a:gd name="connsiteX4" fmla="*/ 2325735 w 2524125"/>
              <a:gd name="connsiteY4" fmla="*/ 445366 h 3338513"/>
              <a:gd name="connsiteX5" fmla="*/ 2313456 w 2524125"/>
              <a:gd name="connsiteY5" fmla="*/ 433154 h 3338513"/>
              <a:gd name="connsiteX6" fmla="*/ 2012929 w 2524125"/>
              <a:gd name="connsiteY6" fmla="*/ 421597 h 3338513"/>
              <a:gd name="connsiteX7" fmla="*/ 1987197 w 2524125"/>
              <a:gd name="connsiteY7" fmla="*/ 444805 h 3338513"/>
              <a:gd name="connsiteX8" fmla="*/ 1987197 w 2524125"/>
              <a:gd name="connsiteY8" fmla="*/ 444855 h 3338513"/>
              <a:gd name="connsiteX9" fmla="*/ 2012299 w 2524125"/>
              <a:gd name="connsiteY9" fmla="*/ 469238 h 3338513"/>
              <a:gd name="connsiteX10" fmla="*/ 2037385 w 2524125"/>
              <a:gd name="connsiteY10" fmla="*/ 446021 h 3338513"/>
              <a:gd name="connsiteX11" fmla="*/ 2012929 w 2524125"/>
              <a:gd name="connsiteY11" fmla="*/ 421597 h 3338513"/>
              <a:gd name="connsiteX12" fmla="*/ 2313795 w 2524125"/>
              <a:gd name="connsiteY12" fmla="*/ 128671 h 3338513"/>
              <a:gd name="connsiteX13" fmla="*/ 2288063 w 2524125"/>
              <a:gd name="connsiteY13" fmla="*/ 151879 h 3338513"/>
              <a:gd name="connsiteX14" fmla="*/ 2288063 w 2524125"/>
              <a:gd name="connsiteY14" fmla="*/ 151882 h 3338513"/>
              <a:gd name="connsiteX15" fmla="*/ 2313114 w 2524125"/>
              <a:gd name="connsiteY15" fmla="*/ 176312 h 3338513"/>
              <a:gd name="connsiteX16" fmla="*/ 2338250 w 2524125"/>
              <a:gd name="connsiteY16" fmla="*/ 153095 h 3338513"/>
              <a:gd name="connsiteX17" fmla="*/ 2313795 w 2524125"/>
              <a:gd name="connsiteY17" fmla="*/ 128671 h 3338513"/>
              <a:gd name="connsiteX18" fmla="*/ 1712068 w 2524125"/>
              <a:gd name="connsiteY18" fmla="*/ 128107 h 3338513"/>
              <a:gd name="connsiteX19" fmla="*/ 1686381 w 2524125"/>
              <a:gd name="connsiteY19" fmla="*/ 151367 h 3338513"/>
              <a:gd name="connsiteX20" fmla="*/ 1711481 w 2524125"/>
              <a:gd name="connsiteY20" fmla="*/ 175753 h 3338513"/>
              <a:gd name="connsiteX21" fmla="*/ 1736567 w 2524125"/>
              <a:gd name="connsiteY21" fmla="*/ 152490 h 3338513"/>
              <a:gd name="connsiteX22" fmla="*/ 1712068 w 2524125"/>
              <a:gd name="connsiteY22" fmla="*/ 128107 h 3338513"/>
              <a:gd name="connsiteX23" fmla="*/ 2013270 w 2524125"/>
              <a:gd name="connsiteY23" fmla="*/ 117112 h 3338513"/>
              <a:gd name="connsiteX24" fmla="*/ 1974671 w 2524125"/>
              <a:gd name="connsiteY24" fmla="*/ 151878 h 3338513"/>
              <a:gd name="connsiteX25" fmla="*/ 1974671 w 2524125"/>
              <a:gd name="connsiteY25" fmla="*/ 151882 h 3338513"/>
              <a:gd name="connsiteX26" fmla="*/ 2012299 w 2524125"/>
              <a:gd name="connsiteY26" fmla="*/ 188528 h 3338513"/>
              <a:gd name="connsiteX27" fmla="*/ 2049901 w 2524125"/>
              <a:gd name="connsiteY27" fmla="*/ 153750 h 3338513"/>
              <a:gd name="connsiteX28" fmla="*/ 2013270 w 2524125"/>
              <a:gd name="connsiteY28" fmla="*/ 117112 h 3338513"/>
              <a:gd name="connsiteX29" fmla="*/ 0 w 2524125"/>
              <a:gd name="connsiteY29" fmla="*/ 0 h 3338513"/>
              <a:gd name="connsiteX30" fmla="*/ 2524125 w 2524125"/>
              <a:gd name="connsiteY30" fmla="*/ 0 h 3338513"/>
              <a:gd name="connsiteX31" fmla="*/ 2524125 w 2524125"/>
              <a:gd name="connsiteY31" fmla="*/ 3338513 h 3338513"/>
              <a:gd name="connsiteX32" fmla="*/ 0 w 2524125"/>
              <a:gd name="connsiteY32" fmla="*/ 3338513 h 3338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524125" h="3338513">
                <a:moveTo>
                  <a:pt x="2313456" y="433154"/>
                </a:moveTo>
                <a:cubicBezTo>
                  <a:pt x="2306512" y="432999"/>
                  <a:pt x="2300753" y="438214"/>
                  <a:pt x="2300590" y="444804"/>
                </a:cubicBezTo>
                <a:cubicBezTo>
                  <a:pt x="2300590" y="444819"/>
                  <a:pt x="2300590" y="444837"/>
                  <a:pt x="2300590" y="444851"/>
                </a:cubicBezTo>
                <a:cubicBezTo>
                  <a:pt x="2300506" y="451498"/>
                  <a:pt x="2306118" y="456946"/>
                  <a:pt x="2313116" y="457021"/>
                </a:cubicBezTo>
                <a:cubicBezTo>
                  <a:pt x="2319966" y="457045"/>
                  <a:pt x="2325572" y="451863"/>
                  <a:pt x="2325735" y="445366"/>
                </a:cubicBezTo>
                <a:cubicBezTo>
                  <a:pt x="2325898" y="438776"/>
                  <a:pt x="2320399" y="433308"/>
                  <a:pt x="2313456" y="433154"/>
                </a:cubicBezTo>
                <a:close/>
                <a:moveTo>
                  <a:pt x="2012929" y="421597"/>
                </a:moveTo>
                <a:cubicBezTo>
                  <a:pt x="1999072" y="421259"/>
                  <a:pt x="1987552" y="431651"/>
                  <a:pt x="1987197" y="444805"/>
                </a:cubicBezTo>
                <a:cubicBezTo>
                  <a:pt x="1987197" y="444823"/>
                  <a:pt x="1987197" y="444837"/>
                  <a:pt x="1987197" y="444855"/>
                </a:cubicBezTo>
                <a:cubicBezTo>
                  <a:pt x="1987035" y="458168"/>
                  <a:pt x="1998273" y="469084"/>
                  <a:pt x="2012299" y="469238"/>
                </a:cubicBezTo>
                <a:cubicBezTo>
                  <a:pt x="2025909" y="469234"/>
                  <a:pt x="2037035" y="458936"/>
                  <a:pt x="2037385" y="446021"/>
                </a:cubicBezTo>
                <a:cubicBezTo>
                  <a:pt x="2037735" y="432868"/>
                  <a:pt x="2026791" y="421929"/>
                  <a:pt x="2012929" y="421597"/>
                </a:cubicBezTo>
                <a:close/>
                <a:moveTo>
                  <a:pt x="2313795" y="128671"/>
                </a:moveTo>
                <a:cubicBezTo>
                  <a:pt x="2299937" y="128333"/>
                  <a:pt x="2288417" y="138725"/>
                  <a:pt x="2288063" y="151879"/>
                </a:cubicBezTo>
                <a:cubicBezTo>
                  <a:pt x="2288063" y="151879"/>
                  <a:pt x="2288063" y="151882"/>
                  <a:pt x="2288063" y="151882"/>
                </a:cubicBezTo>
                <a:cubicBezTo>
                  <a:pt x="2287875" y="165195"/>
                  <a:pt x="2299089" y="176134"/>
                  <a:pt x="2313114" y="176312"/>
                </a:cubicBezTo>
                <a:cubicBezTo>
                  <a:pt x="2326745" y="176335"/>
                  <a:pt x="2337900" y="166028"/>
                  <a:pt x="2338250" y="153095"/>
                </a:cubicBezTo>
                <a:cubicBezTo>
                  <a:pt x="2338600" y="139942"/>
                  <a:pt x="2327657" y="129003"/>
                  <a:pt x="2313795" y="128671"/>
                </a:cubicBezTo>
                <a:close/>
                <a:moveTo>
                  <a:pt x="1712068" y="128107"/>
                </a:moveTo>
                <a:cubicBezTo>
                  <a:pt x="1698205" y="127798"/>
                  <a:pt x="1686706" y="138213"/>
                  <a:pt x="1686381" y="151367"/>
                </a:cubicBezTo>
                <a:cubicBezTo>
                  <a:pt x="1686242" y="164670"/>
                  <a:pt x="1697466" y="175576"/>
                  <a:pt x="1711481" y="175753"/>
                </a:cubicBezTo>
                <a:cubicBezTo>
                  <a:pt x="1725112" y="175749"/>
                  <a:pt x="1736247" y="165423"/>
                  <a:pt x="1736567" y="152490"/>
                </a:cubicBezTo>
                <a:cubicBezTo>
                  <a:pt x="1736893" y="139337"/>
                  <a:pt x="1725925" y="128421"/>
                  <a:pt x="1712068" y="128107"/>
                </a:cubicBezTo>
                <a:close/>
                <a:moveTo>
                  <a:pt x="2013270" y="117112"/>
                </a:moveTo>
                <a:cubicBezTo>
                  <a:pt x="1992499" y="116593"/>
                  <a:pt x="1975214" y="132162"/>
                  <a:pt x="1974671" y="151878"/>
                </a:cubicBezTo>
                <a:cubicBezTo>
                  <a:pt x="1974671" y="151878"/>
                  <a:pt x="1974671" y="151882"/>
                  <a:pt x="1974671" y="151882"/>
                </a:cubicBezTo>
                <a:cubicBezTo>
                  <a:pt x="1974400" y="171864"/>
                  <a:pt x="1991246" y="188270"/>
                  <a:pt x="2012299" y="188528"/>
                </a:cubicBezTo>
                <a:cubicBezTo>
                  <a:pt x="2032690" y="188524"/>
                  <a:pt x="2049364" y="173100"/>
                  <a:pt x="2049901" y="153750"/>
                </a:cubicBezTo>
                <a:cubicBezTo>
                  <a:pt x="2050443" y="134034"/>
                  <a:pt x="2034046" y="117628"/>
                  <a:pt x="2013270" y="117112"/>
                </a:cubicBezTo>
                <a:close/>
                <a:moveTo>
                  <a:pt x="0" y="0"/>
                </a:moveTo>
                <a:lnTo>
                  <a:pt x="2524125" y="0"/>
                </a:lnTo>
                <a:lnTo>
                  <a:pt x="2524125" y="3338513"/>
                </a:lnTo>
                <a:lnTo>
                  <a:pt x="0" y="333851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9" y="231776"/>
            <a:ext cx="4392923" cy="1882203"/>
          </a:xfrm>
        </p:spPr>
        <p:txBody>
          <a:bodyPr anchor="b"/>
          <a:lstStyle>
            <a:lvl1pPr algn="l"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Speakers nam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A3928A5-23A9-42AB-BE2A-254DDB2EE1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9" y="2130373"/>
            <a:ext cx="4392923" cy="1008000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rgbClr val="655B54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GB"/>
              <a:t>Click to add role title</a:t>
            </a:r>
          </a:p>
        </p:txBody>
      </p:sp>
      <p:grpSp>
        <p:nvGrpSpPr>
          <p:cNvPr id="34" name="Graphic 19">
            <a:extLst>
              <a:ext uri="{FF2B5EF4-FFF2-40B4-BE49-F238E27FC236}">
                <a16:creationId xmlns:a16="http://schemas.microsoft.com/office/drawing/2014/main" id="{30CCF508-8A96-414E-9404-07DB1BC111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F07F829-F6FC-4DF2-90CA-7E0E05E129F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C99CDAA-6B26-4696-95A7-75B99CF0A8D5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49E2DEE-F59C-4F32-839F-23EF943860C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4FECE93-C406-440F-B693-95442BB2B39D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2779207-3649-4476-B022-010AD1C8527D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F519B0A-0299-483D-BAFF-7DB63D01CAF8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2CBB9F8-0686-4E84-A9E1-C36C0BFC789A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0F79D2-7F6D-4A6C-99C4-1197C1C96A4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25792C8-2B0A-4D38-8872-2BA9859CC20C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C6C7FB1-D6C2-4132-87FD-770849F63E7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A97DBC4-3087-4BF9-837F-611C44A4C982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A90523E-2EEF-4C47-8A8E-75151ECB51E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AF56317-AA4A-4D20-98E3-07A50B1DB919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9E2A8E1-D8EA-4D9A-BF79-BBC3C8319030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59C028A-6019-4F31-98BF-64BCC56D005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E578A76-37FF-465B-A2F8-022311982319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A3D30F8-66D8-42FE-A00A-CBC30A14DA93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47D2386-F1CE-4D5D-A178-537E05B7FAA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56E0BFB-980D-49F4-BE48-1D88A88AADB8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B7FACB1-263A-42DA-8964-252FBF1B7141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A9B3A4-EC1D-48FE-AA9D-498A39DEE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B2D188-24CD-4318-B9F6-CDB0F6DA71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7CCF62-5A96-461B-B8BA-E249CAEFF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61" name="Dots">
            <a:extLst>
              <a:ext uri="{FF2B5EF4-FFF2-40B4-BE49-F238E27FC236}">
                <a16:creationId xmlns:a16="http://schemas.microsoft.com/office/drawing/2014/main" id="{4DC8648D-B704-4A1B-92A8-2B5828CECBBD}"/>
              </a:ext>
            </a:extLst>
          </p:cNvPr>
          <p:cNvSpPr/>
          <p:nvPr userDrawn="1"/>
        </p:nvSpPr>
        <p:spPr>
          <a:xfrm rot="16200000">
            <a:off x="7037020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tx2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19568156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s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CD2B8DDE-141E-47A1-827C-BEBE167408A8}"/>
              </a:ext>
            </a:extLst>
          </p:cNvPr>
          <p:cNvSpPr/>
          <p:nvPr userDrawn="1"/>
        </p:nvSpPr>
        <p:spPr>
          <a:xfrm>
            <a:off x="5943600" y="1078087"/>
            <a:ext cx="2462674" cy="326757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ED1BA532-3110-40F8-A761-D6129FF3DF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15026" y="1050926"/>
            <a:ext cx="2524125" cy="3338513"/>
          </a:xfrm>
          <a:custGeom>
            <a:avLst/>
            <a:gdLst>
              <a:gd name="connsiteX0" fmla="*/ 2313456 w 2524125"/>
              <a:gd name="connsiteY0" fmla="*/ 433154 h 3338513"/>
              <a:gd name="connsiteX1" fmla="*/ 2300590 w 2524125"/>
              <a:gd name="connsiteY1" fmla="*/ 444804 h 3338513"/>
              <a:gd name="connsiteX2" fmla="*/ 2300590 w 2524125"/>
              <a:gd name="connsiteY2" fmla="*/ 444851 h 3338513"/>
              <a:gd name="connsiteX3" fmla="*/ 2313116 w 2524125"/>
              <a:gd name="connsiteY3" fmla="*/ 457021 h 3338513"/>
              <a:gd name="connsiteX4" fmla="*/ 2325735 w 2524125"/>
              <a:gd name="connsiteY4" fmla="*/ 445366 h 3338513"/>
              <a:gd name="connsiteX5" fmla="*/ 2313456 w 2524125"/>
              <a:gd name="connsiteY5" fmla="*/ 433154 h 3338513"/>
              <a:gd name="connsiteX6" fmla="*/ 2012929 w 2524125"/>
              <a:gd name="connsiteY6" fmla="*/ 421597 h 3338513"/>
              <a:gd name="connsiteX7" fmla="*/ 1987197 w 2524125"/>
              <a:gd name="connsiteY7" fmla="*/ 444805 h 3338513"/>
              <a:gd name="connsiteX8" fmla="*/ 1987197 w 2524125"/>
              <a:gd name="connsiteY8" fmla="*/ 444855 h 3338513"/>
              <a:gd name="connsiteX9" fmla="*/ 2012299 w 2524125"/>
              <a:gd name="connsiteY9" fmla="*/ 469238 h 3338513"/>
              <a:gd name="connsiteX10" fmla="*/ 2037385 w 2524125"/>
              <a:gd name="connsiteY10" fmla="*/ 446021 h 3338513"/>
              <a:gd name="connsiteX11" fmla="*/ 2012929 w 2524125"/>
              <a:gd name="connsiteY11" fmla="*/ 421597 h 3338513"/>
              <a:gd name="connsiteX12" fmla="*/ 2313795 w 2524125"/>
              <a:gd name="connsiteY12" fmla="*/ 128671 h 3338513"/>
              <a:gd name="connsiteX13" fmla="*/ 2288063 w 2524125"/>
              <a:gd name="connsiteY13" fmla="*/ 151879 h 3338513"/>
              <a:gd name="connsiteX14" fmla="*/ 2288063 w 2524125"/>
              <a:gd name="connsiteY14" fmla="*/ 151882 h 3338513"/>
              <a:gd name="connsiteX15" fmla="*/ 2313114 w 2524125"/>
              <a:gd name="connsiteY15" fmla="*/ 176312 h 3338513"/>
              <a:gd name="connsiteX16" fmla="*/ 2338250 w 2524125"/>
              <a:gd name="connsiteY16" fmla="*/ 153095 h 3338513"/>
              <a:gd name="connsiteX17" fmla="*/ 2313795 w 2524125"/>
              <a:gd name="connsiteY17" fmla="*/ 128671 h 3338513"/>
              <a:gd name="connsiteX18" fmla="*/ 1712068 w 2524125"/>
              <a:gd name="connsiteY18" fmla="*/ 128107 h 3338513"/>
              <a:gd name="connsiteX19" fmla="*/ 1686381 w 2524125"/>
              <a:gd name="connsiteY19" fmla="*/ 151367 h 3338513"/>
              <a:gd name="connsiteX20" fmla="*/ 1711481 w 2524125"/>
              <a:gd name="connsiteY20" fmla="*/ 175753 h 3338513"/>
              <a:gd name="connsiteX21" fmla="*/ 1736567 w 2524125"/>
              <a:gd name="connsiteY21" fmla="*/ 152490 h 3338513"/>
              <a:gd name="connsiteX22" fmla="*/ 1712068 w 2524125"/>
              <a:gd name="connsiteY22" fmla="*/ 128107 h 3338513"/>
              <a:gd name="connsiteX23" fmla="*/ 2013270 w 2524125"/>
              <a:gd name="connsiteY23" fmla="*/ 117112 h 3338513"/>
              <a:gd name="connsiteX24" fmla="*/ 1974671 w 2524125"/>
              <a:gd name="connsiteY24" fmla="*/ 151878 h 3338513"/>
              <a:gd name="connsiteX25" fmla="*/ 1974671 w 2524125"/>
              <a:gd name="connsiteY25" fmla="*/ 151882 h 3338513"/>
              <a:gd name="connsiteX26" fmla="*/ 2012299 w 2524125"/>
              <a:gd name="connsiteY26" fmla="*/ 188528 h 3338513"/>
              <a:gd name="connsiteX27" fmla="*/ 2049901 w 2524125"/>
              <a:gd name="connsiteY27" fmla="*/ 153750 h 3338513"/>
              <a:gd name="connsiteX28" fmla="*/ 2013270 w 2524125"/>
              <a:gd name="connsiteY28" fmla="*/ 117112 h 3338513"/>
              <a:gd name="connsiteX29" fmla="*/ 0 w 2524125"/>
              <a:gd name="connsiteY29" fmla="*/ 0 h 3338513"/>
              <a:gd name="connsiteX30" fmla="*/ 2524125 w 2524125"/>
              <a:gd name="connsiteY30" fmla="*/ 0 h 3338513"/>
              <a:gd name="connsiteX31" fmla="*/ 2524125 w 2524125"/>
              <a:gd name="connsiteY31" fmla="*/ 3338513 h 3338513"/>
              <a:gd name="connsiteX32" fmla="*/ 0 w 2524125"/>
              <a:gd name="connsiteY32" fmla="*/ 3338513 h 3338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524125" h="3338513">
                <a:moveTo>
                  <a:pt x="2313456" y="433154"/>
                </a:moveTo>
                <a:cubicBezTo>
                  <a:pt x="2306512" y="432999"/>
                  <a:pt x="2300753" y="438214"/>
                  <a:pt x="2300590" y="444804"/>
                </a:cubicBezTo>
                <a:cubicBezTo>
                  <a:pt x="2300590" y="444819"/>
                  <a:pt x="2300590" y="444837"/>
                  <a:pt x="2300590" y="444851"/>
                </a:cubicBezTo>
                <a:cubicBezTo>
                  <a:pt x="2300506" y="451498"/>
                  <a:pt x="2306118" y="456946"/>
                  <a:pt x="2313116" y="457021"/>
                </a:cubicBezTo>
                <a:cubicBezTo>
                  <a:pt x="2319966" y="457045"/>
                  <a:pt x="2325572" y="451863"/>
                  <a:pt x="2325735" y="445366"/>
                </a:cubicBezTo>
                <a:cubicBezTo>
                  <a:pt x="2325898" y="438776"/>
                  <a:pt x="2320399" y="433308"/>
                  <a:pt x="2313456" y="433154"/>
                </a:cubicBezTo>
                <a:close/>
                <a:moveTo>
                  <a:pt x="2012929" y="421597"/>
                </a:moveTo>
                <a:cubicBezTo>
                  <a:pt x="1999072" y="421259"/>
                  <a:pt x="1987552" y="431651"/>
                  <a:pt x="1987197" y="444805"/>
                </a:cubicBezTo>
                <a:cubicBezTo>
                  <a:pt x="1987197" y="444823"/>
                  <a:pt x="1987197" y="444837"/>
                  <a:pt x="1987197" y="444855"/>
                </a:cubicBezTo>
                <a:cubicBezTo>
                  <a:pt x="1987035" y="458168"/>
                  <a:pt x="1998273" y="469084"/>
                  <a:pt x="2012299" y="469238"/>
                </a:cubicBezTo>
                <a:cubicBezTo>
                  <a:pt x="2025909" y="469234"/>
                  <a:pt x="2037035" y="458936"/>
                  <a:pt x="2037385" y="446021"/>
                </a:cubicBezTo>
                <a:cubicBezTo>
                  <a:pt x="2037735" y="432868"/>
                  <a:pt x="2026791" y="421929"/>
                  <a:pt x="2012929" y="421597"/>
                </a:cubicBezTo>
                <a:close/>
                <a:moveTo>
                  <a:pt x="2313795" y="128671"/>
                </a:moveTo>
                <a:cubicBezTo>
                  <a:pt x="2299937" y="128333"/>
                  <a:pt x="2288417" y="138725"/>
                  <a:pt x="2288063" y="151879"/>
                </a:cubicBezTo>
                <a:cubicBezTo>
                  <a:pt x="2288063" y="151879"/>
                  <a:pt x="2288063" y="151882"/>
                  <a:pt x="2288063" y="151882"/>
                </a:cubicBezTo>
                <a:cubicBezTo>
                  <a:pt x="2287875" y="165195"/>
                  <a:pt x="2299089" y="176134"/>
                  <a:pt x="2313114" y="176312"/>
                </a:cubicBezTo>
                <a:cubicBezTo>
                  <a:pt x="2326745" y="176335"/>
                  <a:pt x="2337900" y="166028"/>
                  <a:pt x="2338250" y="153095"/>
                </a:cubicBezTo>
                <a:cubicBezTo>
                  <a:pt x="2338600" y="139942"/>
                  <a:pt x="2327657" y="129003"/>
                  <a:pt x="2313795" y="128671"/>
                </a:cubicBezTo>
                <a:close/>
                <a:moveTo>
                  <a:pt x="1712068" y="128107"/>
                </a:moveTo>
                <a:cubicBezTo>
                  <a:pt x="1698205" y="127798"/>
                  <a:pt x="1686706" y="138213"/>
                  <a:pt x="1686381" y="151367"/>
                </a:cubicBezTo>
                <a:cubicBezTo>
                  <a:pt x="1686242" y="164670"/>
                  <a:pt x="1697466" y="175576"/>
                  <a:pt x="1711481" y="175753"/>
                </a:cubicBezTo>
                <a:cubicBezTo>
                  <a:pt x="1725112" y="175749"/>
                  <a:pt x="1736247" y="165423"/>
                  <a:pt x="1736567" y="152490"/>
                </a:cubicBezTo>
                <a:cubicBezTo>
                  <a:pt x="1736893" y="139337"/>
                  <a:pt x="1725925" y="128421"/>
                  <a:pt x="1712068" y="128107"/>
                </a:cubicBezTo>
                <a:close/>
                <a:moveTo>
                  <a:pt x="2013270" y="117112"/>
                </a:moveTo>
                <a:cubicBezTo>
                  <a:pt x="1992499" y="116593"/>
                  <a:pt x="1975214" y="132162"/>
                  <a:pt x="1974671" y="151878"/>
                </a:cubicBezTo>
                <a:cubicBezTo>
                  <a:pt x="1974671" y="151878"/>
                  <a:pt x="1974671" y="151882"/>
                  <a:pt x="1974671" y="151882"/>
                </a:cubicBezTo>
                <a:cubicBezTo>
                  <a:pt x="1974400" y="171864"/>
                  <a:pt x="1991246" y="188270"/>
                  <a:pt x="2012299" y="188528"/>
                </a:cubicBezTo>
                <a:cubicBezTo>
                  <a:pt x="2032690" y="188524"/>
                  <a:pt x="2049364" y="173100"/>
                  <a:pt x="2049901" y="153750"/>
                </a:cubicBezTo>
                <a:cubicBezTo>
                  <a:pt x="2050443" y="134034"/>
                  <a:pt x="2034046" y="117628"/>
                  <a:pt x="2013270" y="117112"/>
                </a:cubicBezTo>
                <a:close/>
                <a:moveTo>
                  <a:pt x="0" y="0"/>
                </a:moveTo>
                <a:lnTo>
                  <a:pt x="2524125" y="0"/>
                </a:lnTo>
                <a:lnTo>
                  <a:pt x="2524125" y="3338513"/>
                </a:lnTo>
                <a:lnTo>
                  <a:pt x="0" y="333851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9" y="231776"/>
            <a:ext cx="4392923" cy="1882203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Speakers nam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A3928A5-23A9-42AB-BE2A-254DDB2EE1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9" y="2130373"/>
            <a:ext cx="4392923" cy="1008000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rgbClr val="EACBBB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GB"/>
              <a:t>Click to add role title</a:t>
            </a:r>
          </a:p>
        </p:txBody>
      </p:sp>
      <p:grpSp>
        <p:nvGrpSpPr>
          <p:cNvPr id="34" name="Graphic 19">
            <a:extLst>
              <a:ext uri="{FF2B5EF4-FFF2-40B4-BE49-F238E27FC236}">
                <a16:creationId xmlns:a16="http://schemas.microsoft.com/office/drawing/2014/main" id="{30CCF508-8A96-414E-9404-07DB1BC111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F07F829-F6FC-4DF2-90CA-7E0E05E129F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C99CDAA-6B26-4696-95A7-75B99CF0A8D5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49E2DEE-F59C-4F32-839F-23EF943860C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4FECE93-C406-440F-B693-95442BB2B39D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2779207-3649-4476-B022-010AD1C8527D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F519B0A-0299-483D-BAFF-7DB63D01CAF8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2CBB9F8-0686-4E84-A9E1-C36C0BFC789A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0F79D2-7F6D-4A6C-99C4-1197C1C96A4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25792C8-2B0A-4D38-8872-2BA9859CC20C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C6C7FB1-D6C2-4132-87FD-770849F63E7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A97DBC4-3087-4BF9-837F-611C44A4C982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A90523E-2EEF-4C47-8A8E-75151ECB51E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AF56317-AA4A-4D20-98E3-07A50B1DB919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9E2A8E1-D8EA-4D9A-BF79-BBC3C8319030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59C028A-6019-4F31-98BF-64BCC56D005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E578A76-37FF-465B-A2F8-022311982319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A3D30F8-66D8-42FE-A00A-CBC30A14DA93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47D2386-F1CE-4D5D-A178-537E05B7FAA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56E0BFB-980D-49F4-BE48-1D88A88AADB8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B7FACB1-263A-42DA-8964-252FBF1B7141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A9B3A4-EC1D-48FE-AA9D-498A39DEE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B2D188-24CD-4318-B9F6-CDB0F6DA71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7CCF62-5A96-461B-B8BA-E249CAEFF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64" name="Dots">
            <a:extLst>
              <a:ext uri="{FF2B5EF4-FFF2-40B4-BE49-F238E27FC236}">
                <a16:creationId xmlns:a16="http://schemas.microsoft.com/office/drawing/2014/main" id="{6756FC10-BA1F-4145-A18C-32CA392462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7037020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tx2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843713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1243854"/>
            <a:ext cx="3924300" cy="2655794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GB"/>
              <a:t>Click to add chapter number an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6B92CC9-D409-4CA2-BC27-3B3C472F90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27934" y="309265"/>
            <a:ext cx="2710869" cy="2710869"/>
          </a:xfrm>
          <a:prstGeom prst="rect">
            <a:avLst/>
          </a:prstGeom>
        </p:spPr>
      </p:pic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298564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2">
    <p:bg>
      <p:bgPr>
        <a:solidFill>
          <a:srgbClr val="E5E5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34" name="Graphic 33">
            <a:extLst>
              <a:ext uri="{FF2B5EF4-FFF2-40B4-BE49-F238E27FC236}">
                <a16:creationId xmlns:a16="http://schemas.microsoft.com/office/drawing/2014/main" id="{85E3058E-DF72-4531-BC6D-103DA984DB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18643" y="299811"/>
            <a:ext cx="2725548" cy="2725548"/>
          </a:xfrm>
          <a:prstGeom prst="rect">
            <a:avLst/>
          </a:prstGeom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id="{E0FD9167-FF9F-4DD6-A2A0-1120C2D1A4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8" y="1243854"/>
            <a:ext cx="3924300" cy="2655794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GB"/>
              <a:t>Click to add chapter number and title</a:t>
            </a:r>
          </a:p>
        </p:txBody>
      </p:sp>
    </p:spTree>
    <p:extLst>
      <p:ext uri="{BB962C8B-B14F-4D97-AF65-F5344CB8AC3E}">
        <p14:creationId xmlns:p14="http://schemas.microsoft.com/office/powerpoint/2010/main" val="3128931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2">
    <p:bg>
      <p:bgPr>
        <a:solidFill>
          <a:srgbClr val="E5E5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34" name="Graphic 33">
            <a:extLst>
              <a:ext uri="{FF2B5EF4-FFF2-40B4-BE49-F238E27FC236}">
                <a16:creationId xmlns:a16="http://schemas.microsoft.com/office/drawing/2014/main" id="{85E3058E-DF72-4531-BC6D-103DA984DB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18643" y="299811"/>
            <a:ext cx="2725548" cy="2725548"/>
          </a:xfrm>
          <a:prstGeom prst="rect">
            <a:avLst/>
          </a:prstGeom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id="{E0FD9167-FF9F-4DD6-A2A0-1120C2D1A4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8" y="1243853"/>
            <a:ext cx="3924300" cy="2655794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GB" dirty="0"/>
              <a:t>Click to add chapter number and title</a:t>
            </a:r>
          </a:p>
        </p:txBody>
      </p:sp>
    </p:spTree>
    <p:extLst>
      <p:ext uri="{BB962C8B-B14F-4D97-AF65-F5344CB8AC3E}">
        <p14:creationId xmlns:p14="http://schemas.microsoft.com/office/powerpoint/2010/main" val="4043697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3">
    <p:bg>
      <p:bgPr>
        <a:solidFill>
          <a:srgbClr val="EACBBB">
            <a:alpha val="93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6B92CC9-D409-4CA2-BC27-3B3C472F90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27934" y="309265"/>
            <a:ext cx="2710869" cy="2710869"/>
          </a:xfrm>
          <a:prstGeom prst="rect">
            <a:avLst/>
          </a:prstGeom>
        </p:spPr>
      </p:pic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4" name="Title 1">
            <a:extLst>
              <a:ext uri="{FF2B5EF4-FFF2-40B4-BE49-F238E27FC236}">
                <a16:creationId xmlns:a16="http://schemas.microsoft.com/office/drawing/2014/main" id="{6E8E522A-0F73-469A-8FB8-09265CCA7A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8" y="1243854"/>
            <a:ext cx="3924300" cy="2655794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GB"/>
              <a:t>Click to add chapter number and title</a:t>
            </a:r>
          </a:p>
        </p:txBody>
      </p:sp>
    </p:spTree>
    <p:extLst>
      <p:ext uri="{BB962C8B-B14F-4D97-AF65-F5344CB8AC3E}">
        <p14:creationId xmlns:p14="http://schemas.microsoft.com/office/powerpoint/2010/main" val="2199761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34" name="Graphic 33">
            <a:extLst>
              <a:ext uri="{FF2B5EF4-FFF2-40B4-BE49-F238E27FC236}">
                <a16:creationId xmlns:a16="http://schemas.microsoft.com/office/drawing/2014/main" id="{85E3058E-DF72-4531-BC6D-103DA984DB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18643" y="299811"/>
            <a:ext cx="2725548" cy="2725548"/>
          </a:xfrm>
          <a:prstGeom prst="rect">
            <a:avLst/>
          </a:prstGeom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id="{732C4AB7-5FBA-4B29-9C56-34AAF7CAC0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8" y="1243854"/>
            <a:ext cx="3924300" cy="265579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chapter number and title</a:t>
            </a:r>
          </a:p>
        </p:txBody>
      </p:sp>
    </p:spTree>
    <p:extLst>
      <p:ext uri="{BB962C8B-B14F-4D97-AF65-F5344CB8AC3E}">
        <p14:creationId xmlns:p14="http://schemas.microsoft.com/office/powerpoint/2010/main" val="442193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5">
    <p:bg>
      <p:bgPr>
        <a:solidFill>
          <a:srgbClr val="EACBBB">
            <a:alpha val="25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55AA8E6-7A46-4092-A3A7-300270FD1A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13418" y="0"/>
            <a:ext cx="3030582" cy="51435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5"/>
            <a:ext cx="3924300" cy="143986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chapter number an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191565" y="4875767"/>
            <a:ext cx="1291279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29078" y="4875767"/>
            <a:ext cx="316567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17662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3696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55AA8E6-7A46-4092-A3A7-300270FD1A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13418" y="0"/>
            <a:ext cx="3030582" cy="51435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5"/>
            <a:ext cx="3924300" cy="1439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chapter number an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02324" y="4875767"/>
            <a:ext cx="1291279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9837" y="4875767"/>
            <a:ext cx="316567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2544219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  <p15:guide id="4" pos="3696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s slide 3">
    <p:bg>
      <p:bgPr>
        <a:solidFill>
          <a:schemeClr val="accent5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9" y="231776"/>
            <a:ext cx="4392923" cy="1882203"/>
          </a:xfrm>
        </p:spPr>
        <p:txBody>
          <a:bodyPr anchor="b"/>
          <a:lstStyle>
            <a:lvl1pPr algn="l"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Speakers nam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A3928A5-23A9-42AB-BE2A-254DDB2EE1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9" y="2130373"/>
            <a:ext cx="4392923" cy="1008000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rgbClr val="655B54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GB"/>
              <a:t>Click to add role title</a:t>
            </a:r>
          </a:p>
        </p:txBody>
      </p:sp>
      <p:grpSp>
        <p:nvGrpSpPr>
          <p:cNvPr id="34" name="Graphic 19">
            <a:extLst>
              <a:ext uri="{FF2B5EF4-FFF2-40B4-BE49-F238E27FC236}">
                <a16:creationId xmlns:a16="http://schemas.microsoft.com/office/drawing/2014/main" id="{30CCF508-8A96-414E-9404-07DB1BC111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F07F829-F6FC-4DF2-90CA-7E0E05E129F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C99CDAA-6B26-4696-95A7-75B99CF0A8D5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49E2DEE-F59C-4F32-839F-23EF943860C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4FECE93-C406-440F-B693-95442BB2B39D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2779207-3649-4476-B022-010AD1C8527D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F519B0A-0299-483D-BAFF-7DB63D01CAF8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2CBB9F8-0686-4E84-A9E1-C36C0BFC789A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0F79D2-7F6D-4A6C-99C4-1197C1C96A4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25792C8-2B0A-4D38-8872-2BA9859CC20C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C6C7FB1-D6C2-4132-87FD-770849F63E7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A97DBC4-3087-4BF9-837F-611C44A4C982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A90523E-2EEF-4C47-8A8E-75151ECB51E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AF56317-AA4A-4D20-98E3-07A50B1DB919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9E2A8E1-D8EA-4D9A-BF79-BBC3C8319030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59C028A-6019-4F31-98BF-64BCC56D005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E578A76-37FF-465B-A2F8-022311982319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A3D30F8-66D8-42FE-A00A-CBC30A14DA93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47D2386-F1CE-4D5D-A178-537E05B7FAA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56E0BFB-980D-49F4-BE48-1D88A88AADB8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B7FACB1-263A-42DA-8964-252FBF1B7141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A9B3A4-EC1D-48FE-AA9D-498A39DEE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B2D188-24CD-4318-B9F6-CDB0F6DA71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7CCF62-5A96-461B-B8BA-E249CAEFF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32" name="Picture Placeholder 62">
            <a:extLst>
              <a:ext uri="{FF2B5EF4-FFF2-40B4-BE49-F238E27FC236}">
                <a16:creationId xmlns:a16="http://schemas.microsoft.com/office/drawing/2014/main" id="{51DD727F-E43F-4B84-9AF0-3AE3A5A8C3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15026" y="1050926"/>
            <a:ext cx="2524125" cy="33385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85121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s slide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9" y="231776"/>
            <a:ext cx="4392923" cy="1882203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Speakers nam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A3928A5-23A9-42AB-BE2A-254DDB2EE1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9" y="2130373"/>
            <a:ext cx="4392923" cy="1008000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rgbClr val="EACBBB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GB"/>
              <a:t>Click to add role title</a:t>
            </a:r>
          </a:p>
        </p:txBody>
      </p:sp>
      <p:grpSp>
        <p:nvGrpSpPr>
          <p:cNvPr id="34" name="Graphic 19">
            <a:extLst>
              <a:ext uri="{FF2B5EF4-FFF2-40B4-BE49-F238E27FC236}">
                <a16:creationId xmlns:a16="http://schemas.microsoft.com/office/drawing/2014/main" id="{30CCF508-8A96-414E-9404-07DB1BC111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F07F829-F6FC-4DF2-90CA-7E0E05E129F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C99CDAA-6B26-4696-95A7-75B99CF0A8D5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49E2DEE-F59C-4F32-839F-23EF943860C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4FECE93-C406-440F-B693-95442BB2B39D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2779207-3649-4476-B022-010AD1C8527D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F519B0A-0299-483D-BAFF-7DB63D01CAF8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2CBB9F8-0686-4E84-A9E1-C36C0BFC789A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0F79D2-7F6D-4A6C-99C4-1197C1C96A4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25792C8-2B0A-4D38-8872-2BA9859CC20C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C6C7FB1-D6C2-4132-87FD-770849F63E7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A97DBC4-3087-4BF9-837F-611C44A4C982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A90523E-2EEF-4C47-8A8E-75151ECB51E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AF56317-AA4A-4D20-98E3-07A50B1DB919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9E2A8E1-D8EA-4D9A-BF79-BBC3C8319030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59C028A-6019-4F31-98BF-64BCC56D005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E578A76-37FF-465B-A2F8-022311982319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A3D30F8-66D8-42FE-A00A-CBC30A14DA93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47D2386-F1CE-4D5D-A178-537E05B7FAA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56E0BFB-980D-49F4-BE48-1D88A88AADB8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B7FACB1-263A-42DA-8964-252FBF1B7141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A9B3A4-EC1D-48FE-AA9D-498A39DEE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B2D188-24CD-4318-B9F6-CDB0F6DA71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7CCF62-5A96-461B-B8BA-E249CAEFF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ED1BA532-3110-40F8-A761-D6129FF3DF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15026" y="1050926"/>
            <a:ext cx="2524125" cy="33385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87188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grpSp>
        <p:nvGrpSpPr>
          <p:cNvPr id="10" name="Graphic 19">
            <a:extLst>
              <a:ext uri="{FF2B5EF4-FFF2-40B4-BE49-F238E27FC236}">
                <a16:creationId xmlns:a16="http://schemas.microsoft.com/office/drawing/2014/main" id="{59D87852-F834-409C-B191-0E3DB7829D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DF0FC44-919D-4D5C-BEDE-797DF9691A1F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2253D34-D437-45DF-84B9-D1CE60A1D188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40F4A8E-A03D-44B8-8474-1E1C3A2C5F7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FE8BD5B-94B5-4CAD-BE37-5FE1AD4E054A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B76B74-3ECE-4814-94B0-D91AF2A16645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3F50BF5-3D0F-4E32-9548-2354410572D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7BE7FA7-6CA4-4917-9C43-7B3C45C3A74D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EF1529-5969-4764-ADDC-55D2BEFAA9E0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82530C-BFF7-4FFE-89DD-F04656417F4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C00ED5B-069D-4629-9913-B89C79468A99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0DE64EC-1D8A-4A18-AA0D-966EA50380E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DD7AA4-96EE-4BE7-9AA6-FA06015C4658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FFBFE74-5BE0-4D88-9236-1490CB17271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920FB49-B53C-4555-9E94-A490506760C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C284678-601C-4037-8C9A-B5312F4A0C7A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C680057-9F14-40E7-A752-ED40510F485F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13A42F-A8E7-44E3-BB4A-7C763B911329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E738A0-7E88-4E9C-B9B3-96C293DE9CE9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EAB8D02-ECE2-4190-8241-1DF731560355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6C8C16D-3A30-4ADF-A1E1-5E5668E7D70F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2859170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grpSp>
        <p:nvGrpSpPr>
          <p:cNvPr id="10" name="Graphic 19">
            <a:extLst>
              <a:ext uri="{FF2B5EF4-FFF2-40B4-BE49-F238E27FC236}">
                <a16:creationId xmlns:a16="http://schemas.microsoft.com/office/drawing/2014/main" id="{59D87852-F834-409C-B191-0E3DB7829D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DF0FC44-919D-4D5C-BEDE-797DF9691A1F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2253D34-D437-45DF-84B9-D1CE60A1D188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40F4A8E-A03D-44B8-8474-1E1C3A2C5F7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FE8BD5B-94B5-4CAD-BE37-5FE1AD4E054A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B76B74-3ECE-4814-94B0-D91AF2A16645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3F50BF5-3D0F-4E32-9548-2354410572D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7BE7FA7-6CA4-4917-9C43-7B3C45C3A74D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EF1529-5969-4764-ADDC-55D2BEFAA9E0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82530C-BFF7-4FFE-89DD-F04656417F4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C00ED5B-069D-4629-9913-B89C79468A99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0DE64EC-1D8A-4A18-AA0D-966EA50380E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DD7AA4-96EE-4BE7-9AA6-FA06015C4658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FFBFE74-5BE0-4D88-9236-1490CB17271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920FB49-B53C-4555-9E94-A490506760C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C284678-601C-4037-8C9A-B5312F4A0C7A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C680057-9F14-40E7-A752-ED40510F485F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13A42F-A8E7-44E3-BB4A-7C763B911329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E738A0-7E88-4E9C-B9B3-96C293DE9CE9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EAB8D02-ECE2-4190-8241-1DF731560355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6C8C16D-3A30-4ADF-A1E1-5E5668E7D70F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1269995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3960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grpSp>
        <p:nvGrpSpPr>
          <p:cNvPr id="10" name="Graphic 19">
            <a:extLst>
              <a:ext uri="{FF2B5EF4-FFF2-40B4-BE49-F238E27FC236}">
                <a16:creationId xmlns:a16="http://schemas.microsoft.com/office/drawing/2014/main" id="{59D87852-F834-409C-B191-0E3DB7829D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DF0FC44-919D-4D5C-BEDE-797DF9691A1F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2253D34-D437-45DF-84B9-D1CE60A1D188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40F4A8E-A03D-44B8-8474-1E1C3A2C5F7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FE8BD5B-94B5-4CAD-BE37-5FE1AD4E054A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B76B74-3ECE-4814-94B0-D91AF2A16645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3F50BF5-3D0F-4E32-9548-2354410572D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7BE7FA7-6CA4-4917-9C43-7B3C45C3A74D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EF1529-5969-4764-ADDC-55D2BEFAA9E0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82530C-BFF7-4FFE-89DD-F04656417F4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C00ED5B-069D-4629-9913-B89C79468A99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0DE64EC-1D8A-4A18-AA0D-966EA50380E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DD7AA4-96EE-4BE7-9AA6-FA06015C4658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FFBFE74-5BE0-4D88-9236-1490CB17271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920FB49-B53C-4555-9E94-A490506760C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C284678-601C-4037-8C9A-B5312F4A0C7A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C680057-9F14-40E7-A752-ED40510F485F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13A42F-A8E7-44E3-BB4A-7C763B911329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E738A0-7E88-4E9C-B9B3-96C293DE9CE9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EAB8D02-ECE2-4190-8241-1DF731560355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6C8C16D-3A30-4ADF-A1E1-5E5668E7D70F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2" name="Subtitle 2">
            <a:extLst>
              <a:ext uri="{FF2B5EF4-FFF2-40B4-BE49-F238E27FC236}">
                <a16:creationId xmlns:a16="http://schemas.microsoft.com/office/drawing/2014/main" id="{8F3246DC-C5BF-4123-BA49-B14EF33A4FF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87338" y="735014"/>
            <a:ext cx="8569325" cy="252412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GB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178593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42761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3">
    <p:bg>
      <p:bgPr>
        <a:solidFill>
          <a:srgbClr val="EACBBB">
            <a:alpha val="93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6B92CC9-D409-4CA2-BC27-3B3C472F90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27934" y="309264"/>
            <a:ext cx="2710869" cy="2710869"/>
          </a:xfrm>
          <a:prstGeom prst="rect">
            <a:avLst/>
          </a:prstGeom>
        </p:spPr>
      </p:pic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4" name="Title 1">
            <a:extLst>
              <a:ext uri="{FF2B5EF4-FFF2-40B4-BE49-F238E27FC236}">
                <a16:creationId xmlns:a16="http://schemas.microsoft.com/office/drawing/2014/main" id="{6E8E522A-0F73-469A-8FB8-09265CCA7A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8" y="1243853"/>
            <a:ext cx="3924300" cy="2655794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GB" dirty="0"/>
              <a:t>Click to add chapter number and title</a:t>
            </a:r>
          </a:p>
        </p:txBody>
      </p:sp>
    </p:spTree>
    <p:extLst>
      <p:ext uri="{BB962C8B-B14F-4D97-AF65-F5344CB8AC3E}">
        <p14:creationId xmlns:p14="http://schemas.microsoft.com/office/powerpoint/2010/main" val="1114636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4501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4"/>
            <a:ext cx="8569325" cy="396000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B2EFC80-19D6-4D40-8BBD-10FBF9FB383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87338" y="735014"/>
            <a:ext cx="8569325" cy="252412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GB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969661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7">
    <p:bg>
      <p:bgPr>
        <a:solidFill>
          <a:schemeClr val="accent4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grpSp>
        <p:nvGrpSpPr>
          <p:cNvPr id="10" name="Graphic 19">
            <a:extLst>
              <a:ext uri="{FF2B5EF4-FFF2-40B4-BE49-F238E27FC236}">
                <a16:creationId xmlns:a16="http://schemas.microsoft.com/office/drawing/2014/main" id="{850DDEEC-1DA5-43EB-939E-82FF5ACCA3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3FBF61D-E439-4D28-8ECE-FDA47454CD5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C1C645A-DC52-470C-8192-4ACC478B575D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4EE0C85-D248-4D0F-9C19-EF4B13DB7F9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BBE9197-611F-475B-BD25-0EC8A86BCA6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FA5CD69-A94D-4883-AC01-E6FF3F447E85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FA951B3-CA7A-468B-B334-A2BFCA9B6D00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1EE9E62-C5E7-42B5-BE8A-6275574A1393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B911DB0-4A27-441B-A7B8-69B99118636B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565D296-D101-4F16-93E6-72BC90584051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9F9CB12-4993-4BFE-9F4D-18F8627B090C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A65F25D-2B27-450C-B8BD-71565C55980C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53FB610-E3D3-4A7D-9898-BAAEE6E25E11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7742BC4-19B8-47F0-ABB5-BEBAAD938562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735A104-5357-43BA-B08F-A7221584497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140844B-29B5-4DCA-9975-95116E5F6DC7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FFB4B08-799A-4724-AE06-B64F9A8D7769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4F9E24C-A66D-459D-8473-482CB2591E26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C8C41A1-AAC4-4958-9D85-8193A19FD590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A7557AC-223E-4A56-9B79-4606698704B3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7E06773-FAC4-4C97-8B36-F9AD4BA9B9D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885445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8">
    <p:bg>
      <p:bgPr>
        <a:solidFill>
          <a:schemeClr val="accent4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grpSp>
        <p:nvGrpSpPr>
          <p:cNvPr id="6" name="Graphic 19">
            <a:extLst>
              <a:ext uri="{FF2B5EF4-FFF2-40B4-BE49-F238E27FC236}">
                <a16:creationId xmlns:a16="http://schemas.microsoft.com/office/drawing/2014/main" id="{E1A420AD-4664-4967-8C23-CF0CBC05DA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7280439-DD54-4100-97F9-D7A4A327A01F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92A83F7-90F7-43E5-B1EB-DC34201A4865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53B0482-AECE-4C35-8403-9C3A9A9727ED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86E2943-61E9-4217-B49B-01DB377841C0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80E12CB-F1D3-4C07-8576-FD96F03B29B0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57C2BB1-7F13-42D0-8280-0C6AC5860E21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6009E81-CF94-43ED-98F3-2EFC911AF96D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CCEE56E-EDC8-4088-9D28-243DD5B5F811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04E1F6F-0C47-4DB2-BDA2-87F98787AC86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E5BDFD2-3768-478E-BE3D-E9CEC458B0C4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8EAAD69-61B3-486B-9520-565E1A1FA6CF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3DE9FE4-1F26-41C9-9218-0F02A25B217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BC12A81-E9E3-43DA-98A6-EA7FD8B4C619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78EE2C1-BC5A-40F1-A956-7DF9AE6EFB01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C5E7BAE-2B0C-46BA-9533-F5339965A339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19E3C8D-4C3A-4035-88E3-97BAF26B4B3D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098F041-905E-445F-AB40-A2186AE0ADB0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2028F34-0815-4940-B5A7-925D59B6E474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995A7C8-F27A-4E78-A9AD-E859CA15B2A4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7A9AE59-A400-43E5-B137-92CBAC612BB7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875209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9">
    <p:bg>
      <p:bgPr>
        <a:solidFill>
          <a:schemeClr val="accent4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4"/>
            <a:ext cx="8569325" cy="396000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36B8BE9-BB36-4A36-9F26-11708C686D0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87338" y="735014"/>
            <a:ext cx="8569325" cy="252412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GB"/>
              <a:t>Click to add subtitle</a:t>
            </a:r>
          </a:p>
        </p:txBody>
      </p:sp>
      <p:grpSp>
        <p:nvGrpSpPr>
          <p:cNvPr id="8" name="Graphic 19">
            <a:extLst>
              <a:ext uri="{FF2B5EF4-FFF2-40B4-BE49-F238E27FC236}">
                <a16:creationId xmlns:a16="http://schemas.microsoft.com/office/drawing/2014/main" id="{0A648DE4-485C-4CD3-93CF-65AA4C1B3D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E39939B-8239-4A6B-AD9E-86EFD72E75BA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2BF09CE-3E09-48EE-ABF6-6B8EBC69E15F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2C9FC79-1ED1-430F-9C5D-0F32619E7CF8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872B045-6E5F-4F4E-81AC-8EAA5436EA3C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A155D9F-0B11-4A02-A5E8-25F83D6CA22D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B7BD3A5-C40E-4899-801C-AEDB5AB52ACC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A932660-79BD-403C-B905-7FFEDDA88D7D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2BD8A76-1907-4EF6-AE1B-2310B82280D8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3700A09-D5A1-42A8-BAE3-BBD0859BA2E9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433D047-15E2-447B-8A0C-61C569F6CA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3CF639E-3D76-41C1-8F31-832B794D1B76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EF5EC6A-AB60-49AB-9EDE-A865DB7F42A3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EF469AC-EC76-49F5-95F1-FFB0C4387D0B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30BC3CC-6668-41BB-A498-D2F712002A7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99C055A-7378-4DE3-872B-3039830C8DE8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85CEBDB-01CC-4CAC-8BCF-2897B853BCED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D94D193-773A-4280-8CB8-26746A5FACCC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E24820A-465D-4809-A8AC-2BC24AF07305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2E60FA5-9969-4254-91CE-F67ABD83DF2F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554149B-F0FA-412D-B1DA-7B349E3FC8E0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1571717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grpSp>
        <p:nvGrpSpPr>
          <p:cNvPr id="10" name="Graphic 19">
            <a:extLst>
              <a:ext uri="{FF2B5EF4-FFF2-40B4-BE49-F238E27FC236}">
                <a16:creationId xmlns:a16="http://schemas.microsoft.com/office/drawing/2014/main" id="{59D87852-F834-409C-B191-0E3DB7829D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DF0FC44-919D-4D5C-BEDE-797DF9691A1F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2253D34-D437-45DF-84B9-D1CE60A1D188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40F4A8E-A03D-44B8-8474-1E1C3A2C5F7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FE8BD5B-94B5-4CAD-BE37-5FE1AD4E054A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B76B74-3ECE-4814-94B0-D91AF2A16645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3F50BF5-3D0F-4E32-9548-2354410572D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7BE7FA7-6CA4-4917-9C43-7B3C45C3A74D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EF1529-5969-4764-ADDC-55D2BEFAA9E0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82530C-BFF7-4FFE-89DD-F04656417F4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C00ED5B-069D-4629-9913-B89C79468A99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0DE64EC-1D8A-4A18-AA0D-966EA50380E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DD7AA4-96EE-4BE7-9AA6-FA06015C4658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FFBFE74-5BE0-4D88-9236-1490CB17271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920FB49-B53C-4555-9E94-A490506760C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C284678-601C-4037-8C9A-B5312F4A0C7A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C680057-9F14-40E7-A752-ED40510F485F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13A42F-A8E7-44E3-BB4A-7C763B911329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E738A0-7E88-4E9C-B9B3-96C293DE9CE9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EAB8D02-ECE2-4190-8241-1DF731560355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6C8C16D-3A30-4ADF-A1E1-5E5668E7D70F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29878470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378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7524750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7338" y="1384302"/>
            <a:ext cx="75247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GB"/>
              <a:t>‹#›</a:t>
            </a:fld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347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7524750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7338" y="1384302"/>
            <a:ext cx="75247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GB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0266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ntent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7524750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7338" y="1384302"/>
            <a:ext cx="75247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grpSp>
        <p:nvGrpSpPr>
          <p:cNvPr id="9" name="Graphic 19">
            <a:extLst>
              <a:ext uri="{FF2B5EF4-FFF2-40B4-BE49-F238E27FC236}">
                <a16:creationId xmlns:a16="http://schemas.microsoft.com/office/drawing/2014/main" id="{90AA1AAD-FFB3-4E19-A08C-4948180A9E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747" y="4911726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D2142AA-C1F2-413B-85F6-3193CBB40E9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AF27B02-6CDC-490C-A736-9EFF0B557538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F07A60D-7153-487D-BB58-E43E8C5640D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21C4398-6F90-4229-A156-B1CB14286070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84736A5-B5FE-4B22-AAB2-73D89487DB1B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1C343E3-632F-45EB-90FA-20E5D0DE57D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32CE8D8-3DCB-4F73-8B14-D648E2FEF95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905E651-C109-4EC6-94C6-B183AC6A3779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365EC35-08D3-4055-910E-14F56892EB71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6DF54AC-659D-4590-B8E5-5B6CC10AF5C2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3BD372C-BC49-4687-AB15-64E2019E02F4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AE1B123-13B4-4DB4-9595-8599B6C7C4EE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F2C7E98-F964-42DA-8A43-7F50DBF307D1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280C13B-FC9A-479B-9D84-35F26043306F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A7D6D95-E7D1-469E-8079-4C51D6826EF8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32D4350-B766-4449-B7E7-B05968AF75CA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D193F03-FEB8-4DFE-B297-1FAB6FF6F060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B343257-2828-4B3B-8B03-B1BB5D7E9E11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3D557D1-80E4-42E8-B630-2E08BCC999EF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D11B9F7-598C-47CF-A70C-CCCCC951CBD2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1624143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34" name="Graphic 33">
            <a:extLst>
              <a:ext uri="{FF2B5EF4-FFF2-40B4-BE49-F238E27FC236}">
                <a16:creationId xmlns:a16="http://schemas.microsoft.com/office/drawing/2014/main" id="{85E3058E-DF72-4531-BC6D-103DA984DB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18643" y="299811"/>
            <a:ext cx="2725548" cy="2725548"/>
          </a:xfrm>
          <a:prstGeom prst="rect">
            <a:avLst/>
          </a:prstGeom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id="{732C4AB7-5FBA-4B29-9C56-34AAF7CAC0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8" y="1243853"/>
            <a:ext cx="3924300" cy="265579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chapter number and title</a:t>
            </a:r>
          </a:p>
        </p:txBody>
      </p:sp>
    </p:spTree>
    <p:extLst>
      <p:ext uri="{BB962C8B-B14F-4D97-AF65-F5344CB8AC3E}">
        <p14:creationId xmlns:p14="http://schemas.microsoft.com/office/powerpoint/2010/main" val="3569878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nt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7524750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7338" y="1384302"/>
            <a:ext cx="75247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grpSp>
        <p:nvGrpSpPr>
          <p:cNvPr id="7" name="Graphic 19">
            <a:extLst>
              <a:ext uri="{FF2B5EF4-FFF2-40B4-BE49-F238E27FC236}">
                <a16:creationId xmlns:a16="http://schemas.microsoft.com/office/drawing/2014/main" id="{AAFC091A-C10F-4DAF-BDD5-EB0BB4B55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8F953622-3C3B-4560-9C59-6AA1102754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56C57F1-2BD7-45F9-ABD5-9EDA701C3421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EE7D152-C560-464D-AC43-64BE3CCA2A3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D63D9E2-848F-47A5-9982-DFCC84D7F155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5BEA1DF-E688-477F-B842-A00D407F99E9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D3AF0E8-0B03-45B4-884A-E886460C7A7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A2C990C-A968-4309-9494-1CD8DA2774EF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42A1DAF-84DA-400F-BAD5-CA40018EF9BC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4E2AB5D-D6CF-46C0-BA61-B7FC5335E51D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BEB92E3-A220-4F72-8C55-54AEFD7A33CB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62763B4-F834-4044-A6EA-F0D128C672E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D3A5D33-9EB5-4BD4-81EB-CBB37DEA103C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92DC0CD-16E9-441A-B783-3D021A4FE9C6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C137175-1B2E-432F-BB0E-A685819A0D22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87E9EE0-6905-403E-BB72-3DB1306B7C8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8645C3F-6D4A-4439-BB2B-3FBCD0F846C4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D28FDDE-DF17-4B7E-A7AD-A06AB7AB6151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DD51B9D-6B6E-45B2-8B84-B1F0D55AFC1D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4AC7D6B-FAA9-4E3E-9788-1736579236CE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C68916D-0498-4808-B8B1-B9EA58B58D11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3467909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7524750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7338" y="1384302"/>
            <a:ext cx="36004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GB"/>
              <a:t>‹#›</a:t>
            </a:fld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AFA2D52-E665-4CA4-A88B-1E264F26A5C2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217203" y="1384302"/>
            <a:ext cx="36004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6341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7524750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7338" y="1384302"/>
            <a:ext cx="36004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GB"/>
              <a:t>‹#›</a:t>
            </a:fld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AFA2D52-E665-4CA4-A88B-1E264F26A5C2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217203" y="1384302"/>
            <a:ext cx="36004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1151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7524750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GB"/>
              <a:t>‹#›</a:t>
            </a:fld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8FD492-2D24-4BF8-AE54-A527D3C947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338" y="1384301"/>
            <a:ext cx="3600450" cy="3240088"/>
          </a:xfrm>
        </p:spPr>
        <p:txBody>
          <a:bodyPr/>
          <a:lstStyle>
            <a:lvl1pPr marL="0" indent="0">
              <a:buNone/>
              <a:defRPr/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6024D76-B1AD-4C6E-B1D2-9BADC8ED8B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11638" y="1384301"/>
            <a:ext cx="3600450" cy="3240088"/>
          </a:xfrm>
        </p:spPr>
        <p:txBody>
          <a:bodyPr/>
          <a:lstStyle>
            <a:lvl1pPr marL="0" indent="0">
              <a:buNone/>
              <a:defRPr/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4610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s 2">
    <p:bg>
      <p:bgPr>
        <a:solidFill>
          <a:schemeClr val="accent4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7524750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8FD492-2D24-4BF8-AE54-A527D3C947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338" y="1384301"/>
            <a:ext cx="3600450" cy="3240088"/>
          </a:xfrm>
        </p:spPr>
        <p:txBody>
          <a:bodyPr/>
          <a:lstStyle>
            <a:lvl1pPr marL="0" indent="0">
              <a:buNone/>
              <a:defRPr/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6024D76-B1AD-4C6E-B1D2-9BADC8ED8B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11638" y="1384301"/>
            <a:ext cx="3600450" cy="3240088"/>
          </a:xfrm>
        </p:spPr>
        <p:txBody>
          <a:bodyPr/>
          <a:lstStyle>
            <a:lvl1pPr marL="0" indent="0">
              <a:buNone/>
              <a:defRPr/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9" name="Graphic 19">
            <a:extLst>
              <a:ext uri="{FF2B5EF4-FFF2-40B4-BE49-F238E27FC236}">
                <a16:creationId xmlns:a16="http://schemas.microsoft.com/office/drawing/2014/main" id="{02AF89FC-84AD-457F-A215-4C444DF5FD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D05FC70-CE33-4A87-8449-E1B9B0F82DAD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C51FA43-2BC5-4E38-8E78-05643F05832B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2AD1503-2D75-4882-BC73-CD43EC468BE0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088984F-6771-4FCE-9457-AEDF37C54B9A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9C64356-1910-427B-A1E3-9D582C7BCD66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71CB873-8E26-4127-B72A-4D1F50A56179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74DB33F-0727-4BEB-BB34-8FF56542E7B4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93BE8DE-AF52-4D3C-8D26-A1E813CC0209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FADAC4E-0025-49B5-9193-005805248D2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F333341-EE7E-4B56-81B1-4C0E8BBAD5EE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E3801D4-9BF7-4700-8C32-D70AE36D4D0E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67C9AAB-BC0F-4F47-A45A-84F12265CEAB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620A042-CFD3-4726-9871-95DF0A19200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AC7DE60-D77E-45B1-BE9F-9C296A01202D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373AA0E-0F03-4C52-A670-2C43C1E35668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D89DF5B-E575-4553-BAFF-6FDAE0A72DED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E24FB39-65D6-4F28-A8A6-B01F30986E14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3FE6349-71D4-4AD6-A2B7-C630037B5D2A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FA7A066-CC02-4961-A242-F2116F5A0EE5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8E8E2CB-A539-45E9-9ECD-33FDF5F5436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3494590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s 3">
    <p:bg>
      <p:bgPr>
        <a:solidFill>
          <a:schemeClr val="accent4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7524750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8FD492-2D24-4BF8-AE54-A527D3C947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338" y="1384301"/>
            <a:ext cx="3600450" cy="3240088"/>
          </a:xfrm>
        </p:spPr>
        <p:txBody>
          <a:bodyPr/>
          <a:lstStyle>
            <a:lvl1pPr marL="0" indent="0">
              <a:buNone/>
              <a:defRPr/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6024D76-B1AD-4C6E-B1D2-9BADC8ED8B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11638" y="1384301"/>
            <a:ext cx="3600450" cy="3240088"/>
          </a:xfrm>
        </p:spPr>
        <p:txBody>
          <a:bodyPr/>
          <a:lstStyle>
            <a:lvl1pPr marL="0" indent="0">
              <a:buNone/>
              <a:defRPr/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8" name="Graphic 19">
            <a:extLst>
              <a:ext uri="{FF2B5EF4-FFF2-40B4-BE49-F238E27FC236}">
                <a16:creationId xmlns:a16="http://schemas.microsoft.com/office/drawing/2014/main" id="{EF457548-E4E9-48CF-BFEF-7FF4E83072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84CEEEC-B682-4914-BE51-06184C528EAA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B143F58-8F90-4981-B8A4-4E6E6DF78D38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5C1FDEC-F27B-4C2B-AEB6-D0B7092D119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2030235-2089-43DC-ADCD-3FF7A7414822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F7F594A-85A1-4433-B1D9-E883EAF719CA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0CCC16F-38C5-43C7-A412-486585591455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EDF0B0C-7ECA-4F7F-9BB7-770C74733725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2AEA256-8AD9-4119-B258-E80EE082240D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128A0CD-1DCC-412A-A58A-2FE93CBDE857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AA1FF9A-D8BF-4D62-91BA-6D3BAF18CA6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0CF045C-C079-401C-8DA2-65A2281761F2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AE84ED9-F5B5-4394-8EA9-C9B9B9DCD073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2CEA51E-D360-4270-9AC0-372799B4C152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8269DD3-3494-4B2A-8557-9E29670A26A7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6195827-9307-42F3-B1CE-7EEBB06F42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FF2E896-0881-487C-BC9B-C6E50596C28E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DEA62F6-6725-4395-A522-4C31C2314373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0B7EDF7-E564-4F84-897B-CA00DC075684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8F84A02-AAEE-4CC5-B2E8-60EF16874338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3B439FE-A7D2-4D82-B6BE-2D53B5DEFABF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3688925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GB"/>
              <a:t>‹#›</a:t>
            </a:fld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96702BE-8DDA-4141-820E-8AEE85BB00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7339" y="1384300"/>
            <a:ext cx="2736850" cy="3252702"/>
          </a:xfrm>
        </p:spPr>
        <p:txBody>
          <a:bodyPr>
            <a:normAutofit/>
          </a:bodyPr>
          <a:lstStyle>
            <a:lvl1pPr marL="0" indent="0">
              <a:lnSpc>
                <a:spcPct val="88000"/>
              </a:lnSpc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26E9252-67B5-44BC-914E-DC52F84651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03574" y="1384300"/>
            <a:ext cx="2736850" cy="3252702"/>
          </a:xfrm>
        </p:spPr>
        <p:txBody>
          <a:bodyPr/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1D028AD5-C27D-4A54-B587-543EDEDCE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19814" y="1384300"/>
            <a:ext cx="2736850" cy="3252702"/>
          </a:xfrm>
        </p:spPr>
        <p:txBody>
          <a:bodyPr/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1622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05">
          <p15:clr>
            <a:srgbClr val="FBAE40"/>
          </p15:clr>
        </p15:guide>
        <p15:guide id="2" pos="2018">
          <p15:clr>
            <a:srgbClr val="FBAE40"/>
          </p15:clr>
        </p15:guide>
        <p15:guide id="3" pos="3742">
          <p15:clr>
            <a:srgbClr val="FBAE40"/>
          </p15:clr>
        </p15:guide>
        <p15:guide id="4" pos="3855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GB"/>
              <a:t>‹#›</a:t>
            </a:fld>
            <a:endParaRPr lang="en-GB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CFFCB23-D261-4EEF-AB85-1BD6EF09DF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1384300"/>
            <a:ext cx="1998662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FC5C668-368E-4EE4-B072-C1F003E769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76501" y="1384300"/>
            <a:ext cx="1998662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86C8A71D-B40E-4849-81A7-D752EF5F8A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65663" y="1384300"/>
            <a:ext cx="1998662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B3C3DE41-C5A2-47F0-8966-C5CF80B1A4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58001" y="1384300"/>
            <a:ext cx="1998662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986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4320">
          <p15:clr>
            <a:srgbClr val="FBAE40"/>
          </p15:clr>
        </p15:guide>
        <p15:guide id="5" pos="1560">
          <p15:clr>
            <a:srgbClr val="FBAE40"/>
          </p15:clr>
        </p15:guide>
        <p15:guide id="6" pos="2822">
          <p15:clr>
            <a:srgbClr val="FBAE40"/>
          </p15:clr>
        </p15:guide>
        <p15:guide id="7" pos="2941">
          <p15:clr>
            <a:srgbClr val="FBAE40"/>
          </p15:clr>
        </p15:guide>
        <p15:guide id="8" pos="4204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GB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DB37055-18D0-4167-842A-28E3217E49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338" y="1384301"/>
            <a:ext cx="1566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0AD3BE6F-9CAC-42E3-9FDB-BB76C5757B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034450" y="1384301"/>
            <a:ext cx="1566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E5DF87C-1B84-491A-8BE0-03F3EBFD02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88999" y="1384301"/>
            <a:ext cx="1566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5647C692-E63D-49B1-87FE-EBCEE07743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44413" y="1384301"/>
            <a:ext cx="1566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93A47FA5-323D-4520-BD12-CAE3891837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290663" y="1384301"/>
            <a:ext cx="1566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8613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68">
          <p15:clr>
            <a:srgbClr val="FBAE40"/>
          </p15:clr>
        </p15:guide>
        <p15:guide id="4" pos="4479">
          <p15:clr>
            <a:srgbClr val="FBAE40"/>
          </p15:clr>
        </p15:guide>
        <p15:guide id="5" pos="1281">
          <p15:clr>
            <a:srgbClr val="FBAE40"/>
          </p15:clr>
        </p15:guide>
        <p15:guide id="6" pos="2268">
          <p15:clr>
            <a:srgbClr val="FBAE40"/>
          </p15:clr>
        </p15:guide>
        <p15:guide id="7" pos="2381">
          <p15:clr>
            <a:srgbClr val="FBAE40"/>
          </p15:clr>
        </p15:guide>
        <p15:guide id="8" pos="4589">
          <p15:clr>
            <a:srgbClr val="FBAE40"/>
          </p15:clr>
        </p15:guide>
        <p15:guide id="9" pos="3379">
          <p15:clr>
            <a:srgbClr val="FBAE40"/>
          </p15:clr>
        </p15:guide>
        <p15:guide id="10" pos="3492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GB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DB37055-18D0-4167-842A-28E3217E49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338" y="1384301"/>
            <a:ext cx="1278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0AD3BE6F-9CAC-42E3-9FDB-BB76C5757B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45014" y="1384301"/>
            <a:ext cx="1278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E5DF87C-1B84-491A-8BE0-03F3EBFD02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02690" y="1384301"/>
            <a:ext cx="1278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5647C692-E63D-49B1-87FE-EBCEE07743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60366" y="1384301"/>
            <a:ext cx="1278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93A47FA5-323D-4520-BD12-CAE3891837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18042" y="1384301"/>
            <a:ext cx="1279472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5F8C725A-89A3-4153-BB30-F09829AE080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577191" y="1384301"/>
            <a:ext cx="1279472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3377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87">
          <p15:clr>
            <a:srgbClr val="FBAE40"/>
          </p15:clr>
        </p15:guide>
        <p15:guide id="4" pos="3742">
          <p15:clr>
            <a:srgbClr val="FBAE40"/>
          </p15:clr>
        </p15:guide>
        <p15:guide id="5" pos="1097">
          <p15:clr>
            <a:srgbClr val="FBAE40"/>
          </p15:clr>
        </p15:guide>
        <p15:guide id="6" pos="1906">
          <p15:clr>
            <a:srgbClr val="FBAE40"/>
          </p15:clr>
        </p15:guide>
        <p15:guide id="7" pos="2016">
          <p15:clr>
            <a:srgbClr val="FBAE40"/>
          </p15:clr>
        </p15:guide>
        <p15:guide id="8" pos="4660">
          <p15:clr>
            <a:srgbClr val="FBAE40"/>
          </p15:clr>
        </p15:guide>
        <p15:guide id="9" pos="2825">
          <p15:clr>
            <a:srgbClr val="FBAE40"/>
          </p15:clr>
        </p15:guide>
        <p15:guide id="10" pos="2935">
          <p15:clr>
            <a:srgbClr val="FBAE40"/>
          </p15:clr>
        </p15:guide>
        <p15:guide id="11" pos="4770">
          <p15:clr>
            <a:srgbClr val="FBAE40"/>
          </p15:clr>
        </p15:guide>
        <p15:guide id="12" pos="385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5">
    <p:bg>
      <p:bgPr>
        <a:solidFill>
          <a:srgbClr val="EACBBB">
            <a:alpha val="25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55AA8E6-7A46-4092-A3A7-300270FD1A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13418" y="0"/>
            <a:ext cx="3030582" cy="51435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1851819"/>
            <a:ext cx="3924300" cy="1439863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GB" dirty="0"/>
              <a:t>Click to add chapter number an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191564" y="4875766"/>
            <a:ext cx="1291279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29077" y="4875766"/>
            <a:ext cx="316567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69209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3696" userDrawn="1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and tex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9B8376A-3F2F-4D41-BC8B-1C257493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1"/>
            <a:endParaRPr lang="en-GB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4C88DCC-E2CF-4C92-BB09-0F1056975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8" y="2938410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D58F12-3A40-4AD6-B65A-AAC2F3E79D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7339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A68EE013-AE2A-4248-8BCF-2E64E6BABDD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478281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11CE9E7-F377-4DD8-A11A-DDDEDEC0BC6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69225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C5781105-3433-4B25-8A2C-71205B96E3F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860167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E390B699-9829-4C4D-9271-54B5879B36A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8282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1"/>
            <a:endParaRPr lang="en-GB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63A6803F-D4D2-4ED2-A99D-780C639CA5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78282" y="2938410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14BB3F-0B6E-49DE-98D5-69F9B40A1CC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69225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1"/>
            <a:endParaRPr lang="en-GB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FE678802-AB38-4C6E-AE7F-BDD84189529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69225" y="2938410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92B200A8-A390-4184-A558-D2CFC7EE0D3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60167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1"/>
            <a:endParaRPr lang="en-GB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A3730497-CA66-4CCE-9128-3C544C7579B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860167" y="2938410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62330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1560">
          <p15:clr>
            <a:srgbClr val="FBAE40"/>
          </p15:clr>
        </p15:guide>
        <p15:guide id="5" pos="2822">
          <p15:clr>
            <a:srgbClr val="FBAE40"/>
          </p15:clr>
        </p15:guide>
        <p15:guide id="6" pos="2938">
          <p15:clr>
            <a:srgbClr val="FBAE40"/>
          </p15:clr>
        </p15:guide>
        <p15:guide id="7" pos="4200">
          <p15:clr>
            <a:srgbClr val="FBAE40"/>
          </p15:clr>
        </p15:guide>
        <p15:guide id="8" pos="4320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and text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9B8376A-3F2F-4D41-BC8B-1C257493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1"/>
            <a:endParaRPr lang="en-GB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4C88DCC-E2CF-4C92-BB09-0F1056975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8" y="2938410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bg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D58F12-3A40-4AD6-B65A-AAC2F3E79D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7339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A68EE013-AE2A-4248-8BCF-2E64E6BABDD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478281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11CE9E7-F377-4DD8-A11A-DDDEDEC0BC6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69225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C5781105-3433-4B25-8A2C-71205B96E3F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860167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E390B699-9829-4C4D-9271-54B5879B36A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8282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1"/>
            <a:endParaRPr lang="en-GB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63A6803F-D4D2-4ED2-A99D-780C639CA5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78282" y="2938410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bg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14BB3F-0B6E-49DE-98D5-69F9B40A1CC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69225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1"/>
            <a:endParaRPr lang="en-GB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FE678802-AB38-4C6E-AE7F-BDD84189529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69225" y="2938410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bg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92B200A8-A390-4184-A558-D2CFC7EE0D3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60167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1"/>
            <a:endParaRPr lang="en-GB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B535D04-089D-4C0C-B8F6-D5DF48A1F41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860167" y="2938410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bg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891546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1560">
          <p15:clr>
            <a:srgbClr val="FBAE40"/>
          </p15:clr>
        </p15:guide>
        <p15:guide id="5" pos="2822">
          <p15:clr>
            <a:srgbClr val="FBAE40"/>
          </p15:clr>
        </p15:guide>
        <p15:guide id="6" pos="2938">
          <p15:clr>
            <a:srgbClr val="FBAE40"/>
          </p15:clr>
        </p15:guide>
        <p15:guide id="7" pos="4200">
          <p15:clr>
            <a:srgbClr val="FBAE40"/>
          </p15:clr>
        </p15:guide>
        <p15:guide id="8" pos="4320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tex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9B8376A-3F2F-4D41-BC8B-1C257493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7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4C88DCC-E2CF-4C92-BB09-0F1056975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7" y="2938410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D58F12-3A40-4AD6-B65A-AAC2F3E79D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7338" y="1464069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2EE733A6-DEFC-4650-AE8D-E0D5B5C822C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742127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0ECACEAF-4E8A-409F-A96A-C0ECA46B888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196915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706FA668-9394-42F3-85C8-613D5085530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651702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70A1D5F1-0CEC-4928-BDB1-6C2DDC0D3FD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106491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A212763A-D03F-49D4-91C6-ECC7A02C98EA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561278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5D4BA8B6-B69C-4AC9-8D15-DD18D74DB2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45602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5E3F21CB-3D54-489B-9A30-3A854B8F196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203867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1DA71580-ECB2-4D09-8897-C50E57D035C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62132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6B150BEA-75D4-4BD8-A296-50A0131D4DB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120397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2F7F8C6F-C4E5-4F61-83A3-6E5BA86DC75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78663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CF887BEC-8696-44FA-AAEB-11CDA42F6C8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744120" y="2938410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6778262D-D493-48E0-BD79-6361B86EC9B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00903" y="2938410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1BD87ADC-1E7C-4187-A8A9-9112E6E2AC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657686" y="2938410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35001C77-91F2-4B03-8C37-FB1467681A8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14469" y="2938410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138A40E3-EB52-48DE-8ADF-840BA50D192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571254" y="2938410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56228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1560">
          <p15:clr>
            <a:srgbClr val="FBAE40"/>
          </p15:clr>
        </p15:guide>
        <p15:guide id="5" pos="2822">
          <p15:clr>
            <a:srgbClr val="FBAE40"/>
          </p15:clr>
        </p15:guide>
        <p15:guide id="6" pos="2938">
          <p15:clr>
            <a:srgbClr val="FBAE40"/>
          </p15:clr>
        </p15:guide>
        <p15:guide id="7" pos="4200">
          <p15:clr>
            <a:srgbClr val="FBAE40"/>
          </p15:clr>
        </p15:guide>
        <p15:guide id="8" pos="4320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x images and text 2">
    <p:bg>
      <p:bgPr>
        <a:solidFill>
          <a:schemeClr val="accent4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4"/>
            <a:ext cx="8569325" cy="1008064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9B8376A-3F2F-4D41-BC8B-1C257493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4C88DCC-E2CF-4C92-BB09-0F1056975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7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D58F12-3A40-4AD6-B65A-AAC2F3E79D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7338" y="1464069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2EE733A6-DEFC-4650-AE8D-E0D5B5C822C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742127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0ECACEAF-4E8A-409F-A96A-C0ECA46B888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196915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706FA668-9394-42F3-85C8-613D5085530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651702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70A1D5F1-0CEC-4928-BDB1-6C2DDC0D3FD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106491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A212763A-D03F-49D4-91C6-ECC7A02C98EA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561278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5D4BA8B6-B69C-4AC9-8D15-DD18D74DB2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45602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5E3F21CB-3D54-489B-9A30-3A854B8F196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20386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1DA71580-ECB2-4D09-8897-C50E57D035C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62132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6B150BEA-75D4-4BD8-A296-50A0131D4DB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12039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2F7F8C6F-C4E5-4F61-83A3-6E5BA86DC75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78663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CF887BEC-8696-44FA-AAEB-11CDA42F6C8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744120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6778262D-D493-48E0-BD79-6361B86EC9B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00903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1BD87ADC-1E7C-4187-A8A9-9112E6E2AC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657686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35001C77-91F2-4B03-8C37-FB1467681A8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14469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138A40E3-EB52-48DE-8ADF-840BA50D192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571254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grpSp>
        <p:nvGrpSpPr>
          <p:cNvPr id="24" name="Graphic 19">
            <a:extLst>
              <a:ext uri="{FF2B5EF4-FFF2-40B4-BE49-F238E27FC236}">
                <a16:creationId xmlns:a16="http://schemas.microsoft.com/office/drawing/2014/main" id="{5CC8B7A0-2360-4832-B9E7-49352F47A8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A8F1401-E0F2-461D-85B4-02FDA74BB5D9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82F35A7-8A2B-4FF2-A1E8-99D75F379886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D5C9C0E-C64F-46A9-9415-8782E041020C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D84713D-6A8A-4EAC-BAF4-83F70D66F4E1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455E89E9-6C1C-4EB7-9FED-1C1FD794E0B0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411A293C-5052-4D21-8F50-DA0D72838197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4F4B9DB-A9E1-435B-878B-490E939360C1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B76F0E2-4080-4D43-8644-401166DCDC5E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69BCF3C8-D2F8-438A-A873-DF0402FC896A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F8C42139-8062-4FD9-9B40-4BCFDDD36DA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BA944A91-33C1-4ADE-8FB5-15D1FE8FA941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06DE010-8ADA-4F76-B38B-9E349C057147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6A56F72D-51AA-44C6-BC2E-5F4EE0D24A04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D9C1FA35-C8B3-4870-823A-0B90FAAB5962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757354A1-63A3-4F27-920D-EFF00C17E53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7C2FD7F-FBA5-43CC-A963-981788BB7623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6588CA61-DEFD-4976-9996-87212E2661A2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DD4D684D-C933-48E6-9C41-60C5627A49B7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2F3C24D9-5BCF-4584-BEB2-A5AEDCE20EF7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E3C4D663-7165-48F4-9686-91465E1A5CE2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4037321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1560">
          <p15:clr>
            <a:srgbClr val="FBAE40"/>
          </p15:clr>
        </p15:guide>
        <p15:guide id="5" pos="2822">
          <p15:clr>
            <a:srgbClr val="FBAE40"/>
          </p15:clr>
        </p15:guide>
        <p15:guide id="6" pos="2938">
          <p15:clr>
            <a:srgbClr val="FBAE40"/>
          </p15:clr>
        </p15:guide>
        <p15:guide id="7" pos="4200">
          <p15:clr>
            <a:srgbClr val="FBAE40"/>
          </p15:clr>
        </p15:guide>
        <p15:guide id="8" pos="4320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x images and text 3">
    <p:bg>
      <p:bgPr>
        <a:solidFill>
          <a:schemeClr val="accent4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8313A7A-AD91-4ED9-8CF5-6890BC33877C}"/>
              </a:ext>
            </a:extLst>
          </p:cNvPr>
          <p:cNvSpPr/>
          <p:nvPr userDrawn="1"/>
        </p:nvSpPr>
        <p:spPr>
          <a:xfrm>
            <a:off x="0" y="1"/>
            <a:ext cx="9144000" cy="1936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9B8376A-3F2F-4D41-BC8B-1C257493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</a:p>
          <a:p>
            <a:pPr lvl="1"/>
            <a:endParaRPr lang="en-GB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4C88DCC-E2CF-4C92-BB09-0F1056975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7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D58F12-3A40-4AD6-B65A-AAC2F3E79D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7338" y="1464069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2EE733A6-DEFC-4650-AE8D-E0D5B5C822C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742127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0ECACEAF-4E8A-409F-A96A-C0ECA46B888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196915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706FA668-9394-42F3-85C8-613D5085530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651702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70A1D5F1-0CEC-4928-BDB1-6C2DDC0D3FD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106491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A212763A-D03F-49D4-91C6-ECC7A02C98EA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561278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5D4BA8B6-B69C-4AC9-8D15-DD18D74DB2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45602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5E3F21CB-3D54-489B-9A30-3A854B8F196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20386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1DA71580-ECB2-4D09-8897-C50E57D035C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62132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6B150BEA-75D4-4BD8-A296-50A0131D4DB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12039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2F7F8C6F-C4E5-4F61-83A3-6E5BA86DC75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78663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CF887BEC-8696-44FA-AAEB-11CDA42F6C8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744120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6778262D-D493-48E0-BD79-6361B86EC9B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00903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1BD87ADC-1E7C-4187-A8A9-9112E6E2AC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657686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35001C77-91F2-4B03-8C37-FB1467681A8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14469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138A40E3-EB52-48DE-8ADF-840BA50D192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571254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</p:txBody>
      </p:sp>
      <p:grpSp>
        <p:nvGrpSpPr>
          <p:cNvPr id="25" name="Graphic 19">
            <a:extLst>
              <a:ext uri="{FF2B5EF4-FFF2-40B4-BE49-F238E27FC236}">
                <a16:creationId xmlns:a16="http://schemas.microsoft.com/office/drawing/2014/main" id="{295ED415-EFF4-49B1-9B83-14D805C868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E50E246-4B63-4151-BE8D-37165C5D6C5B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5C1A517-F5DD-4D53-9724-AF544C275B55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FAA572DC-A561-496D-BC6D-E1FD6E3B68C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FDBEAD8-7C52-4DCF-91A6-8BD34167D2DF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36BA790-BF39-451D-ABF3-5149EA9C15C9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8CA8B14-C4C6-49FC-A169-F6F49E589AEE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17ADB2A-C220-42C9-B79D-755B26C88FD8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6396D9DE-7353-49B0-939B-5F018064D87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AB56403-DA0E-4E01-B8B2-9CE1607ECD2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BD0E7DF6-8A2F-4690-AC60-54277374A7F1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FCD5CC34-1A70-4D34-8AF9-4ABDAC33F70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DD720656-C571-496B-97C6-B85DD315C9BE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64AED83-2A56-42DB-A602-67E4950368F6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61CBFC2F-3522-49EF-B4F8-85801E40F661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31E6C9D9-3601-404B-9A91-ADD5A620910B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CC5C52F-44CF-42AD-93CB-FC3FAA14197C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B1584459-6F57-4FD0-9280-FB9BFB754D77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07E20A86-3A17-4A4E-B262-F113A5382072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411B58AE-7C60-4E75-830A-7712D027C91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BBE11415-60BF-44A6-8BEE-A0F971454D11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4200482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1560">
          <p15:clr>
            <a:srgbClr val="FBAE40"/>
          </p15:clr>
        </p15:guide>
        <p15:guide id="5" pos="2822">
          <p15:clr>
            <a:srgbClr val="FBAE40"/>
          </p15:clr>
        </p15:guide>
        <p15:guide id="6" pos="2938">
          <p15:clr>
            <a:srgbClr val="FBAE40"/>
          </p15:clr>
        </p15:guide>
        <p15:guide id="7" pos="4200">
          <p15:clr>
            <a:srgbClr val="FBAE40"/>
          </p15:clr>
        </p15:guide>
        <p15:guide id="8" pos="4320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and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C1A66733-51BD-4A1B-A1E1-2EA7AEFEDF6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13418" y="0"/>
            <a:ext cx="3030582" cy="51435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5"/>
            <a:ext cx="5580061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8" y="4875767"/>
            <a:ext cx="1327855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7" y="4875767"/>
            <a:ext cx="316567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86C15EA9-6488-44FD-9697-87CBA3F1898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9" y="1384300"/>
            <a:ext cx="2663825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9853EE3-B235-4C12-856E-DA5CA39C63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03576" y="1384300"/>
            <a:ext cx="2663825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8921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696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EFD8556-0AB6-4925-BC1F-6A8D224BE8A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203576" y="0"/>
            <a:ext cx="5940425" cy="5143500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6"/>
            <a:ext cx="2663824" cy="1008064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8" y="4875767"/>
            <a:ext cx="1327855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7" y="4875767"/>
            <a:ext cx="316567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1FC4084A-15B9-46BC-968F-A2F45E8851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7339" y="1384300"/>
            <a:ext cx="2663825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864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696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2EED53-4FAF-470B-BABA-95415FCA0B32}"/>
              </a:ext>
            </a:extLst>
          </p:cNvPr>
          <p:cNvSpPr/>
          <p:nvPr userDrawn="1"/>
        </p:nvSpPr>
        <p:spPr>
          <a:xfrm>
            <a:off x="1" y="0"/>
            <a:ext cx="3203575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5"/>
            <a:ext cx="2663824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8" y="4875767"/>
            <a:ext cx="1327855" cy="129382"/>
          </a:xfrm>
        </p:spPr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7" y="4875767"/>
            <a:ext cx="316567" cy="129382"/>
          </a:xfrm>
        </p:spPr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6EC4B04A-FD2E-440A-B266-DB1890A20B15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BEBEBE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4E67AE1-3A55-4FE3-AFA3-D44BDDE51A76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DDF7F79-ACCF-4E1A-8668-26E488678121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B84DAD-A6E2-4856-A62D-335C50EF1184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7650A64-39E5-4A8B-8C8A-C967473220D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0D8D9B8-112F-4E87-8C53-3E8A9737CAC8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A42C00B-48E5-45D9-8C25-3D9FDFC144D1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6846ED9-346A-4E74-B2C7-E35F271FA7E2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A4A0209-A5B5-4352-AA4A-3EC008E71236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2F71D0-BFBB-44B6-9F79-499711036F57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5386E7E-229C-4AC3-B5BE-E9CF22FEE78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B68B6AE-6454-46C6-821D-20923944E95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10546DE-A37B-4F37-8A23-7BEA4B35C08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5D784D4-ED0C-4B9F-8199-612AB0334EE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06A1E2-3540-412C-96A7-24C8339F5787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5836F61A-C498-4BF3-B126-BBAD79E248A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BA1CDF-7FA8-43EC-B8CB-01A67A5DBA46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FE79733-74E2-4B88-A2C0-8A84B618AE3F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6604E9F-B455-447C-840D-B2E6098341A3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CE3B313-27DB-4FE0-A76F-6254993DF3CC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E40B51F9-0E4E-4B25-9A8D-AB82B7CD8FDA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34D410A3-6262-4104-8421-EEA32224C9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9" y="1384300"/>
            <a:ext cx="2663825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ED0B705-AD58-4371-B16B-CE872F23B6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301656" y="737389"/>
            <a:ext cx="3744264" cy="333368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728" b="728"/>
            </a:stretch>
          </a:blip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92990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696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/textboxe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2EED53-4FAF-470B-BABA-95415FCA0B32}"/>
              </a:ext>
            </a:extLst>
          </p:cNvPr>
          <p:cNvSpPr/>
          <p:nvPr userDrawn="1"/>
        </p:nvSpPr>
        <p:spPr>
          <a:xfrm>
            <a:off x="1" y="0"/>
            <a:ext cx="3203575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5"/>
            <a:ext cx="2663824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8" y="4875767"/>
            <a:ext cx="1327855" cy="129382"/>
          </a:xfrm>
        </p:spPr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7" y="4875767"/>
            <a:ext cx="316567" cy="129382"/>
          </a:xfrm>
        </p:spPr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6EC4B04A-FD2E-440A-B266-DB1890A20B15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BEBEBE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4E67AE1-3A55-4FE3-AFA3-D44BDDE51A76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DDF7F79-ACCF-4E1A-8668-26E488678121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B84DAD-A6E2-4856-A62D-335C50EF1184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7650A64-39E5-4A8B-8C8A-C967473220D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0D8D9B8-112F-4E87-8C53-3E8A9737CAC8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A42C00B-48E5-45D9-8C25-3D9FDFC144D1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6846ED9-346A-4E74-B2C7-E35F271FA7E2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A4A0209-A5B5-4352-AA4A-3EC008E71236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2F71D0-BFBB-44B6-9F79-499711036F57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5386E7E-229C-4AC3-B5BE-E9CF22FEE78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B68B6AE-6454-46C6-821D-20923944E95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10546DE-A37B-4F37-8A23-7BEA4B35C08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5D784D4-ED0C-4B9F-8199-612AB0334EE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06A1E2-3540-412C-96A7-24C8339F5787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5836F61A-C498-4BF3-B126-BBAD79E248A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BA1CDF-7FA8-43EC-B8CB-01A67A5DBA46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FE79733-74E2-4B88-A2C0-8A84B618AE3F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6604E9F-B455-447C-840D-B2E6098341A3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CE3B313-27DB-4FE0-A76F-6254993DF3CC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E40B51F9-0E4E-4B25-9A8D-AB82B7CD8FDA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34D410A3-6262-4104-8421-EEA32224C9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9" y="1384300"/>
            <a:ext cx="2663825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ED0B705-AD58-4371-B16B-CE872F23B60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238047" y="1166760"/>
            <a:ext cx="877538" cy="781310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91CD0FB5-E4FD-4E34-9502-77B6475DA32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38047" y="2120917"/>
            <a:ext cx="877538" cy="781310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F7DDAB31-986C-40A8-9C1D-E66196707E3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238047" y="3075073"/>
            <a:ext cx="877538" cy="781310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ED74DBC9-5F8C-482F-B8EC-528AE7B206B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04211" y="1166760"/>
            <a:ext cx="3652452" cy="781310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179384" indent="0">
              <a:buNone/>
              <a:defRPr sz="1100">
                <a:solidFill>
                  <a:schemeClr val="bg1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4526E8DE-9F24-429B-97B3-00129BD207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04211" y="2120917"/>
            <a:ext cx="3652452" cy="781310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179384" indent="0">
              <a:buNone/>
              <a:defRPr sz="1100">
                <a:solidFill>
                  <a:schemeClr val="bg1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6980C8EB-C6DC-4B20-952E-C374410D186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04211" y="3075073"/>
            <a:ext cx="3652452" cy="781310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179384" indent="0">
              <a:buNone/>
              <a:defRPr sz="1100">
                <a:solidFill>
                  <a:schemeClr val="bg1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GB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943009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696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bg>
      <p:bgPr>
        <a:solidFill>
          <a:schemeClr val="accent4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90CF30B-0460-4090-8253-4C0C66AF2BC8}"/>
              </a:ext>
            </a:extLst>
          </p:cNvPr>
          <p:cNvSpPr/>
          <p:nvPr userDrawn="1"/>
        </p:nvSpPr>
        <p:spPr>
          <a:xfrm>
            <a:off x="1" y="0"/>
            <a:ext cx="3203575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4"/>
            <a:ext cx="2663824" cy="1008064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8" y="4875767"/>
            <a:ext cx="1327855" cy="129382"/>
          </a:xfrm>
        </p:spPr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7" y="4875767"/>
            <a:ext cx="316567" cy="129382"/>
          </a:xfrm>
        </p:spPr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2135EBB7-89A2-462D-8F90-9B79ED46DC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BEBEBE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FCE5AD2-C0B6-4416-8377-C3F33413204D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6495CA5-5589-4B2B-98FB-D20F392F574D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2252530-7889-4BA8-831A-58B2276F173D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AFEE500-4CD8-40CF-AB55-7E7F80EC6513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A17C36B-8CE7-4ECB-A0B5-E528AD02774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E66A775-32E8-41CB-90F0-5C4576F39F11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38384A2-15B4-4BDE-8BE0-77541982E332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A87B1E7-E372-44CB-973A-519D64CAD6F7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C3A118D-41E8-4B95-A78E-85F79ECB7707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961566C-4B79-4974-A51E-FC5CCE1B625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ED51D0D-C996-4EE9-B171-AD29F2DE7B9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3FC1AA2-5191-46F5-AB4E-A9D20CD38578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96860F0-A49A-4285-B37A-503ECD985D00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BE11755-AF30-4D54-BF20-F853D417C577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189726A-4322-4ABC-A42A-685C0655ABD9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106B221-15F6-479D-BFA6-3915FE60FFD6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21E8CBF-44DC-42F6-8736-FF558A5B9D4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E4AC2BA-2471-4EDF-A746-20381B89DBE7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BFA87CC-878C-4AF8-8560-B98D25B8FCB1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0171221-5F88-475A-BA07-A22812E05880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9FDFBFB1-B9E7-4A32-A990-00F6849ACC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9" y="1384300"/>
            <a:ext cx="2663824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99B0955-4799-4906-A566-C24D9C3A04F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455989" y="231776"/>
            <a:ext cx="5400675" cy="4392613"/>
          </a:xfrm>
        </p:spPr>
        <p:txBody>
          <a:bodyPr/>
          <a:lstStyle>
            <a:lvl1pPr marL="0" indent="0">
              <a:buNone/>
              <a:defRPr/>
            </a:lvl1pPr>
            <a:lvl2pPr marL="179384" indent="0">
              <a:buNone/>
              <a:defRPr/>
            </a:lvl2pPr>
          </a:lstStyle>
          <a:p>
            <a:pPr lvl="0"/>
            <a:r>
              <a:rPr lang="en-GB"/>
              <a:t>Click to add content for example chart or table</a:t>
            </a:r>
          </a:p>
        </p:txBody>
      </p:sp>
    </p:spTree>
    <p:extLst>
      <p:ext uri="{BB962C8B-B14F-4D97-AF65-F5344CB8AC3E}">
        <p14:creationId xmlns:p14="http://schemas.microsoft.com/office/powerpoint/2010/main" val="1258276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696">
          <p15:clr>
            <a:srgbClr val="FBAE40"/>
          </p15:clr>
        </p15:guide>
        <p15:guide id="5" pos="217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55AA8E6-7A46-4092-A3A7-300270FD1A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13418" y="0"/>
            <a:ext cx="3030582" cy="51435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1851819"/>
            <a:ext cx="3924300" cy="1439863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chapter number an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02323" y="4875766"/>
            <a:ext cx="1291279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9836" y="4875766"/>
            <a:ext cx="316567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382789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  <p15:guide id="4" pos="3696" userDrawn="1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four char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1" y="231775"/>
            <a:ext cx="8569322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8" y="4875767"/>
            <a:ext cx="1327855" cy="129382"/>
          </a:xfrm>
        </p:spPr>
        <p:txBody>
          <a:bodyPr/>
          <a:lstStyle>
            <a:lvl1pPr>
              <a:defRPr>
                <a:solidFill>
                  <a:srgbClr val="A9A9A9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7" y="4875767"/>
            <a:ext cx="316567" cy="129382"/>
          </a:xfrm>
        </p:spPr>
        <p:txBody>
          <a:bodyPr/>
          <a:lstStyle>
            <a:lvl1pPr>
              <a:defRPr>
                <a:solidFill>
                  <a:srgbClr val="A9A9A9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B9FC45D-54D5-4036-93FE-B8CC03146E43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3203575" y="1387562"/>
            <a:ext cx="2700338" cy="156027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7" name="Chart Placeholder 5">
            <a:extLst>
              <a:ext uri="{FF2B5EF4-FFF2-40B4-BE49-F238E27FC236}">
                <a16:creationId xmlns:a16="http://schemas.microsoft.com/office/drawing/2014/main" id="{4712E5B9-D971-42A0-B7C2-EADDA62014AD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156325" y="1387562"/>
            <a:ext cx="2700338" cy="156027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9" name="Chart Placeholder 5">
            <a:extLst>
              <a:ext uri="{FF2B5EF4-FFF2-40B4-BE49-F238E27FC236}">
                <a16:creationId xmlns:a16="http://schemas.microsoft.com/office/drawing/2014/main" id="{0512725E-F973-4E54-B29A-0CF2150058E6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3203575" y="3068233"/>
            <a:ext cx="2700338" cy="156027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20" name="Chart Placeholder 5">
            <a:extLst>
              <a:ext uri="{FF2B5EF4-FFF2-40B4-BE49-F238E27FC236}">
                <a16:creationId xmlns:a16="http://schemas.microsoft.com/office/drawing/2014/main" id="{BE898CDF-F524-424F-97F4-3286D721F31E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156325" y="3068233"/>
            <a:ext cx="2700338" cy="156027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E401FDBC-1089-4486-B418-A836F55B65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7339" y="1384300"/>
            <a:ext cx="2663825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891132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719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picture and text boxes">
    <p:bg>
      <p:bgPr>
        <a:solidFill>
          <a:schemeClr val="accent4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DB9D176-43F4-4CF4-9D48-99DC583F1DC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9144000" cy="2664823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779776"/>
            <a:ext cx="2628899" cy="959674"/>
          </a:xfr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Shor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F4B38B19-CADF-4FC1-9242-DEBCD1E6C247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87338" y="3817826"/>
            <a:ext cx="2628899" cy="80656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E5DF87C-1B84-491A-8BE0-03F3EBFD02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25776" y="2481944"/>
            <a:ext cx="1363345" cy="1755647"/>
          </a:xfrm>
          <a:solidFill>
            <a:schemeClr val="accent4"/>
          </a:solidFill>
        </p:spPr>
        <p:txBody>
          <a:bodyPr lIns="180000" tIns="144000" rIns="180000" bIns="144000">
            <a:normAutofit/>
          </a:bodyPr>
          <a:lstStyle>
            <a:lvl1pPr marL="0" indent="0">
              <a:buNone/>
              <a:defRPr sz="1000"/>
            </a:lvl1pPr>
            <a:lvl2pPr marL="87311" indent="0">
              <a:buNone/>
              <a:defRPr sz="1000"/>
            </a:lvl2pPr>
            <a:lvl3pPr marL="179383" indent="0">
              <a:buNone/>
              <a:defRPr sz="1000"/>
            </a:lvl3pPr>
            <a:lvl4pPr marL="266693" indent="0">
              <a:buNone/>
              <a:defRPr sz="1000"/>
            </a:lvl4pPr>
            <a:lvl5pPr marL="360353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5647C692-E63D-49B1-87FE-EBCEE07743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2487" y="2481944"/>
            <a:ext cx="1363345" cy="1755647"/>
          </a:xfrm>
          <a:solidFill>
            <a:schemeClr val="accent4"/>
          </a:solidFill>
        </p:spPr>
        <p:txBody>
          <a:bodyPr lIns="180000" tIns="144000" rIns="180000" bIns="144000">
            <a:normAutofit/>
          </a:bodyPr>
          <a:lstStyle>
            <a:lvl1pPr marL="0" indent="0">
              <a:buNone/>
              <a:defRPr sz="1000"/>
            </a:lvl1pPr>
            <a:lvl2pPr marL="87311" indent="0">
              <a:buNone/>
              <a:defRPr sz="1000"/>
            </a:lvl2pPr>
            <a:lvl3pPr marL="179383" indent="0">
              <a:buNone/>
              <a:defRPr sz="1000"/>
            </a:lvl3pPr>
            <a:lvl4pPr marL="266693" indent="0">
              <a:buNone/>
              <a:defRPr sz="1000"/>
            </a:lvl4pPr>
            <a:lvl5pPr marL="360353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93A47FA5-323D-4520-BD12-CAE3891837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99198" y="2481944"/>
            <a:ext cx="1363345" cy="1755647"/>
          </a:xfrm>
          <a:solidFill>
            <a:schemeClr val="accent4"/>
          </a:solidFill>
        </p:spPr>
        <p:txBody>
          <a:bodyPr lIns="180000" tIns="144000" rIns="180000" bIns="144000">
            <a:normAutofit/>
          </a:bodyPr>
          <a:lstStyle>
            <a:lvl1pPr marL="0" indent="0">
              <a:buNone/>
              <a:defRPr sz="1000"/>
            </a:lvl1pPr>
            <a:lvl2pPr marL="87311" indent="0">
              <a:buNone/>
              <a:defRPr sz="1000"/>
            </a:lvl2pPr>
            <a:lvl3pPr marL="179383" indent="0">
              <a:buNone/>
              <a:defRPr sz="1000"/>
            </a:lvl3pPr>
            <a:lvl4pPr marL="266693" indent="0">
              <a:buNone/>
              <a:defRPr sz="1000"/>
            </a:lvl4pPr>
            <a:lvl5pPr marL="360353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5F8C725A-89A3-4153-BB30-F09829AE080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485910" y="2481944"/>
            <a:ext cx="1363345" cy="1755647"/>
          </a:xfrm>
          <a:solidFill>
            <a:schemeClr val="accent4"/>
          </a:solidFill>
        </p:spPr>
        <p:txBody>
          <a:bodyPr lIns="180000" tIns="144000" rIns="180000" bIns="144000">
            <a:normAutofit/>
          </a:bodyPr>
          <a:lstStyle>
            <a:lvl1pPr marL="0" indent="0">
              <a:buNone/>
              <a:defRPr sz="1000"/>
            </a:lvl1pPr>
            <a:lvl2pPr marL="87311" indent="0">
              <a:buNone/>
              <a:defRPr sz="1000"/>
            </a:lvl2pPr>
            <a:lvl3pPr marL="179383" indent="0">
              <a:buNone/>
              <a:defRPr sz="1000"/>
            </a:lvl3pPr>
            <a:lvl4pPr marL="266693" indent="0">
              <a:buNone/>
              <a:defRPr sz="1000"/>
            </a:lvl4pPr>
            <a:lvl5pPr marL="360353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12" name="Graphic 19">
            <a:extLst>
              <a:ext uri="{FF2B5EF4-FFF2-40B4-BE49-F238E27FC236}">
                <a16:creationId xmlns:a16="http://schemas.microsoft.com/office/drawing/2014/main" id="{691AC394-9248-4039-8E50-C101568C6709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43BDC3D-AD61-45CE-A8A1-490AAA5F00CD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9CAF52B-FEB5-4063-BF03-8DAB1A1DCD6E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6E4EF46-7899-44A1-AD87-170E9FD242E1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DB3F867-C063-43D5-B576-5CA83248993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D15FA3C-528C-40E5-BEE3-CF931ADE651A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54B0C5F-08F4-432F-A242-B454A9CC1C15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481C99C-C0CB-4857-A242-11A0F5F263FF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B9C1FBA-8D6B-43B7-896B-18A9BD443147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FE2845E-50B1-4929-8CCC-431CF1908DB9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0BCB425-0629-4FAE-892E-75DA29D6C70E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52423C4-146D-4CD1-AC12-13A6E50CD202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1204195-B8E8-4199-B513-4C624D7FF51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8E16977-2DA8-4FB8-BDBC-CB82EB8BD35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ABFEAA9-BFEC-4B3A-A94B-BD0A37BF1E42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1E90EE70-DDFA-4420-BFEC-9C360B6B5D14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8831A3E-F74A-4F0B-AF34-7995508C9D87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55B767E-7BC8-405B-921D-D31733AD40F3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631A0B14-5829-43E9-8BDE-856A4C89923E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054B147-4296-4BE7-B95F-E88CD59482CC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D069002-3AB5-43B9-9E09-76B857DC35E4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1493170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703">
          <p15:clr>
            <a:srgbClr val="FBAE40"/>
          </p15:clr>
        </p15:guide>
        <p15:guide id="6" pos="1906">
          <p15:clr>
            <a:srgbClr val="FBAE40"/>
          </p15:clr>
        </p15:guide>
        <p15:guide id="8" pos="4641">
          <p15:clr>
            <a:srgbClr val="FBAE40"/>
          </p15:clr>
        </p15:guide>
        <p15:guide id="9" pos="2765">
          <p15:clr>
            <a:srgbClr val="FBAE40"/>
          </p15:clr>
        </p15:guide>
        <p15:guide id="10" pos="2841">
          <p15:clr>
            <a:srgbClr val="FBAE40"/>
          </p15:clr>
        </p15:guide>
        <p15:guide id="11" pos="4713">
          <p15:clr>
            <a:srgbClr val="FBAE40"/>
          </p15:clr>
        </p15:guide>
        <p15:guide id="12" pos="3779">
          <p15:clr>
            <a:srgbClr val="FBAE40"/>
          </p15:clr>
        </p15:guide>
        <p15:guide id="13" pos="1837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nd picture">
    <p:bg>
      <p:bgPr>
        <a:solidFill>
          <a:schemeClr val="bg1">
            <a:alpha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aphic 19">
            <a:extLst>
              <a:ext uri="{FF2B5EF4-FFF2-40B4-BE49-F238E27FC236}">
                <a16:creationId xmlns:a16="http://schemas.microsoft.com/office/drawing/2014/main" id="{F9A4D9FD-CBA9-40AA-91C5-801F8F4B35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chemeClr val="bg1"/>
          </a:solidFill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FC5F8EEE-2027-46C3-82D5-D3E0B524B20A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D5E5DA65-E88D-4B8F-BDD0-D371EBFBC062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33BBA3BA-AF69-4109-AA0F-4A6BECA6C90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70480C05-4466-41F2-B953-A8E8FB25A334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4C14D13C-4832-499F-8903-ABB1786FF8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59C48CD1-6002-431D-B38B-08CFDB1A89EA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1B6BBB8E-0F04-4150-97B3-5404F99AFE74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A09964C1-6BBC-4245-B301-D30808802003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6D3991D-A712-44FA-89EB-7BDFB0DB4FE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5C6A05A4-5020-4952-82E3-51EC5D635195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6EC34952-04E0-420A-8BE3-831FB2616BFB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848EA399-3B88-4CA8-9D1A-293A2C3CD3BB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5B2ED039-0F80-4B51-AC5E-256F8FA436D2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A2667AFB-8508-4465-8CA5-6800BBB37E51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5421509-60E5-4A51-A352-5F4A3F8613A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D821F839-D929-4109-AA3A-3155D7A176F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414D6F91-D12D-4D3E-812A-BEBB42E63C46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D715EF96-BBC6-42A2-86B6-AC60005BD88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6900032B-B9B7-4593-AF87-A68F29EB641E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1043F203-4F1E-4B31-AA26-28D0D288B046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59" name="Picture Placeholder 58">
            <a:extLst>
              <a:ext uri="{FF2B5EF4-FFF2-40B4-BE49-F238E27FC236}">
                <a16:creationId xmlns:a16="http://schemas.microsoft.com/office/drawing/2014/main" id="{5AB387F6-333B-46D5-8551-80AE0CFDA72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347256 w 9144000"/>
              <a:gd name="connsiteY0" fmla="*/ 4985347 h 5143500"/>
              <a:gd name="connsiteX1" fmla="*/ 342841 w 9144000"/>
              <a:gd name="connsiteY1" fmla="*/ 4989763 h 5143500"/>
              <a:gd name="connsiteX2" fmla="*/ 347256 w 9144000"/>
              <a:gd name="connsiteY2" fmla="*/ 4994178 h 5143500"/>
              <a:gd name="connsiteX3" fmla="*/ 351671 w 9144000"/>
              <a:gd name="connsiteY3" fmla="*/ 4989762 h 5143500"/>
              <a:gd name="connsiteX4" fmla="*/ 351671 w 9144000"/>
              <a:gd name="connsiteY4" fmla="*/ 4989714 h 5143500"/>
              <a:gd name="connsiteX5" fmla="*/ 347304 w 9144000"/>
              <a:gd name="connsiteY5" fmla="*/ 4985347 h 5143500"/>
              <a:gd name="connsiteX6" fmla="*/ 347256 w 9144000"/>
              <a:gd name="connsiteY6" fmla="*/ 4985347 h 5143500"/>
              <a:gd name="connsiteX7" fmla="*/ 335514 w 9144000"/>
              <a:gd name="connsiteY7" fmla="*/ 4984571 h 5143500"/>
              <a:gd name="connsiteX8" fmla="*/ 330371 w 9144000"/>
              <a:gd name="connsiteY8" fmla="*/ 4989714 h 5143500"/>
              <a:gd name="connsiteX9" fmla="*/ 335514 w 9144000"/>
              <a:gd name="connsiteY9" fmla="*/ 4994857 h 5143500"/>
              <a:gd name="connsiteX10" fmla="*/ 340657 w 9144000"/>
              <a:gd name="connsiteY10" fmla="*/ 4989714 h 5143500"/>
              <a:gd name="connsiteX11" fmla="*/ 335514 w 9144000"/>
              <a:gd name="connsiteY11" fmla="*/ 4984571 h 5143500"/>
              <a:gd name="connsiteX12" fmla="*/ 358998 w 9144000"/>
              <a:gd name="connsiteY12" fmla="*/ 4972829 h 5143500"/>
              <a:gd name="connsiteX13" fmla="*/ 353855 w 9144000"/>
              <a:gd name="connsiteY13" fmla="*/ 4977972 h 5143500"/>
              <a:gd name="connsiteX14" fmla="*/ 358998 w 9144000"/>
              <a:gd name="connsiteY14" fmla="*/ 4983115 h 5143500"/>
              <a:gd name="connsiteX15" fmla="*/ 364141 w 9144000"/>
              <a:gd name="connsiteY15" fmla="*/ 4977972 h 5143500"/>
              <a:gd name="connsiteX16" fmla="*/ 358998 w 9144000"/>
              <a:gd name="connsiteY16" fmla="*/ 4972829 h 5143500"/>
              <a:gd name="connsiteX17" fmla="*/ 335514 w 9144000"/>
              <a:gd name="connsiteY17" fmla="*/ 4972102 h 5143500"/>
              <a:gd name="connsiteX18" fmla="*/ 329791 w 9144000"/>
              <a:gd name="connsiteY18" fmla="*/ 4978117 h 5143500"/>
              <a:gd name="connsiteX19" fmla="*/ 335805 w 9144000"/>
              <a:gd name="connsiteY19" fmla="*/ 4983840 h 5143500"/>
              <a:gd name="connsiteX20" fmla="*/ 341459 w 9144000"/>
              <a:gd name="connsiteY20" fmla="*/ 4978047 h 5143500"/>
              <a:gd name="connsiteX21" fmla="*/ 347256 w 9144000"/>
              <a:gd name="connsiteY21" fmla="*/ 4983844 h 5143500"/>
              <a:gd name="connsiteX22" fmla="*/ 353127 w 9144000"/>
              <a:gd name="connsiteY22" fmla="*/ 4977973 h 5143500"/>
              <a:gd name="connsiteX23" fmla="*/ 347256 w 9144000"/>
              <a:gd name="connsiteY23" fmla="*/ 4972102 h 5143500"/>
              <a:gd name="connsiteX24" fmla="*/ 341458 w 9144000"/>
              <a:gd name="connsiteY24" fmla="*/ 4977900 h 5143500"/>
              <a:gd name="connsiteX25" fmla="*/ 335660 w 9144000"/>
              <a:gd name="connsiteY25" fmla="*/ 4972102 h 5143500"/>
              <a:gd name="connsiteX26" fmla="*/ 370642 w 9144000"/>
              <a:gd name="connsiteY26" fmla="*/ 4961961 h 5143500"/>
              <a:gd name="connsiteX27" fmla="*/ 366227 w 9144000"/>
              <a:gd name="connsiteY27" fmla="*/ 4966376 h 5143500"/>
              <a:gd name="connsiteX28" fmla="*/ 370642 w 9144000"/>
              <a:gd name="connsiteY28" fmla="*/ 4970792 h 5143500"/>
              <a:gd name="connsiteX29" fmla="*/ 375057 w 9144000"/>
              <a:gd name="connsiteY29" fmla="*/ 4966376 h 5143500"/>
              <a:gd name="connsiteX30" fmla="*/ 370642 w 9144000"/>
              <a:gd name="connsiteY30" fmla="*/ 4961961 h 5143500"/>
              <a:gd name="connsiteX31" fmla="*/ 370643 w 9144000"/>
              <a:gd name="connsiteY31" fmla="*/ 4949297 h 5143500"/>
              <a:gd name="connsiteX32" fmla="*/ 365500 w 9144000"/>
              <a:gd name="connsiteY32" fmla="*/ 4954440 h 5143500"/>
              <a:gd name="connsiteX33" fmla="*/ 370643 w 9144000"/>
              <a:gd name="connsiteY33" fmla="*/ 4959583 h 5143500"/>
              <a:gd name="connsiteX34" fmla="*/ 375786 w 9144000"/>
              <a:gd name="connsiteY34" fmla="*/ 4954440 h 5143500"/>
              <a:gd name="connsiteX35" fmla="*/ 370643 w 9144000"/>
              <a:gd name="connsiteY35" fmla="*/ 4949297 h 5143500"/>
              <a:gd name="connsiteX36" fmla="*/ 358998 w 9144000"/>
              <a:gd name="connsiteY36" fmla="*/ 4948521 h 5143500"/>
              <a:gd name="connsiteX37" fmla="*/ 353079 w 9144000"/>
              <a:gd name="connsiteY37" fmla="*/ 4954440 h 5143500"/>
              <a:gd name="connsiteX38" fmla="*/ 358998 w 9144000"/>
              <a:gd name="connsiteY38" fmla="*/ 4960360 h 5143500"/>
              <a:gd name="connsiteX39" fmla="*/ 353127 w 9144000"/>
              <a:gd name="connsiteY39" fmla="*/ 4966231 h 5143500"/>
              <a:gd name="connsiteX40" fmla="*/ 358998 w 9144000"/>
              <a:gd name="connsiteY40" fmla="*/ 4972199 h 5143500"/>
              <a:gd name="connsiteX41" fmla="*/ 364965 w 9144000"/>
              <a:gd name="connsiteY41" fmla="*/ 4966328 h 5143500"/>
              <a:gd name="connsiteX42" fmla="*/ 359094 w 9144000"/>
              <a:gd name="connsiteY42" fmla="*/ 4960360 h 5143500"/>
              <a:gd name="connsiteX43" fmla="*/ 358998 w 9144000"/>
              <a:gd name="connsiteY43" fmla="*/ 4960360 h 5143500"/>
              <a:gd name="connsiteX44" fmla="*/ 364918 w 9144000"/>
              <a:gd name="connsiteY44" fmla="*/ 4954440 h 5143500"/>
              <a:gd name="connsiteX45" fmla="*/ 358998 w 9144000"/>
              <a:gd name="connsiteY45" fmla="*/ 4948521 h 5143500"/>
              <a:gd name="connsiteX46" fmla="*/ 625032 w 9144000"/>
              <a:gd name="connsiteY46" fmla="*/ 4939788 h 5143500"/>
              <a:gd name="connsiteX47" fmla="*/ 650020 w 9144000"/>
              <a:gd name="connsiteY47" fmla="*/ 4939788 h 5143500"/>
              <a:gd name="connsiteX48" fmla="*/ 650020 w 9144000"/>
              <a:gd name="connsiteY48" fmla="*/ 4948570 h 5143500"/>
              <a:gd name="connsiteX49" fmla="*/ 625032 w 9144000"/>
              <a:gd name="connsiteY49" fmla="*/ 4948570 h 5143500"/>
              <a:gd name="connsiteX50" fmla="*/ 487090 w 9144000"/>
              <a:gd name="connsiteY50" fmla="*/ 4939788 h 5143500"/>
              <a:gd name="connsiteX51" fmla="*/ 512078 w 9144000"/>
              <a:gd name="connsiteY51" fmla="*/ 4939788 h 5143500"/>
              <a:gd name="connsiteX52" fmla="*/ 511884 w 9144000"/>
              <a:gd name="connsiteY52" fmla="*/ 4948570 h 5143500"/>
              <a:gd name="connsiteX53" fmla="*/ 487090 w 9144000"/>
              <a:gd name="connsiteY53" fmla="*/ 4948570 h 5143500"/>
              <a:gd name="connsiteX54" fmla="*/ 573602 w 9144000"/>
              <a:gd name="connsiteY54" fmla="*/ 4939738 h 5143500"/>
              <a:gd name="connsiteX55" fmla="*/ 600045 w 9144000"/>
              <a:gd name="connsiteY55" fmla="*/ 4939738 h 5143500"/>
              <a:gd name="connsiteX56" fmla="*/ 600045 w 9144000"/>
              <a:gd name="connsiteY56" fmla="*/ 4966230 h 5143500"/>
              <a:gd name="connsiteX57" fmla="*/ 573602 w 9144000"/>
              <a:gd name="connsiteY57" fmla="*/ 4966230 h 5143500"/>
              <a:gd name="connsiteX58" fmla="*/ 737502 w 9144000"/>
              <a:gd name="connsiteY58" fmla="*/ 4930957 h 5143500"/>
              <a:gd name="connsiteX59" fmla="*/ 745556 w 9144000"/>
              <a:gd name="connsiteY59" fmla="*/ 4963271 h 5143500"/>
              <a:gd name="connsiteX60" fmla="*/ 757395 w 9144000"/>
              <a:gd name="connsiteY60" fmla="*/ 4975790 h 5143500"/>
              <a:gd name="connsiteX61" fmla="*/ 761713 w 9144000"/>
              <a:gd name="connsiteY61" fmla="*/ 4975790 h 5143500"/>
              <a:gd name="connsiteX62" fmla="*/ 761713 w 9144000"/>
              <a:gd name="connsiteY62" fmla="*/ 4985494 h 5143500"/>
              <a:gd name="connsiteX63" fmla="*/ 745556 w 9144000"/>
              <a:gd name="connsiteY63" fmla="*/ 4985494 h 5143500"/>
              <a:gd name="connsiteX64" fmla="*/ 745556 w 9144000"/>
              <a:gd name="connsiteY64" fmla="*/ 4994276 h 5143500"/>
              <a:gd name="connsiteX65" fmla="*/ 748516 w 9144000"/>
              <a:gd name="connsiteY65" fmla="*/ 4994276 h 5143500"/>
              <a:gd name="connsiteX66" fmla="*/ 770544 w 9144000"/>
              <a:gd name="connsiteY66" fmla="*/ 4978119 h 5143500"/>
              <a:gd name="connsiteX67" fmla="*/ 782286 w 9144000"/>
              <a:gd name="connsiteY67" fmla="*/ 4931103 h 5143500"/>
              <a:gd name="connsiteX68" fmla="*/ 771999 w 9144000"/>
              <a:gd name="connsiteY68" fmla="*/ 4930957 h 5143500"/>
              <a:gd name="connsiteX69" fmla="*/ 765401 w 9144000"/>
              <a:gd name="connsiteY69" fmla="*/ 4966231 h 5143500"/>
              <a:gd name="connsiteX70" fmla="*/ 754387 w 9144000"/>
              <a:gd name="connsiteY70" fmla="*/ 4966231 h 5143500"/>
              <a:gd name="connsiteX71" fmla="*/ 747788 w 9144000"/>
              <a:gd name="connsiteY71" fmla="*/ 4930957 h 5143500"/>
              <a:gd name="connsiteX72" fmla="*/ 730855 w 9144000"/>
              <a:gd name="connsiteY72" fmla="*/ 4930957 h 5143500"/>
              <a:gd name="connsiteX73" fmla="*/ 708885 w 9144000"/>
              <a:gd name="connsiteY73" fmla="*/ 4949820 h 5143500"/>
              <a:gd name="connsiteX74" fmla="*/ 708827 w 9144000"/>
              <a:gd name="connsiteY74" fmla="*/ 4951530 h 5143500"/>
              <a:gd name="connsiteX75" fmla="*/ 708827 w 9144000"/>
              <a:gd name="connsiteY75" fmla="*/ 4966086 h 5143500"/>
              <a:gd name="connsiteX76" fmla="*/ 702956 w 9144000"/>
              <a:gd name="connsiteY76" fmla="*/ 4966086 h 5143500"/>
              <a:gd name="connsiteX77" fmla="*/ 702956 w 9144000"/>
              <a:gd name="connsiteY77" fmla="*/ 4974916 h 5143500"/>
              <a:gd name="connsiteX78" fmla="*/ 733814 w 9144000"/>
              <a:gd name="connsiteY78" fmla="*/ 4974916 h 5143500"/>
              <a:gd name="connsiteX79" fmla="*/ 733814 w 9144000"/>
              <a:gd name="connsiteY79" fmla="*/ 4966086 h 5143500"/>
              <a:gd name="connsiteX80" fmla="*/ 717657 w 9144000"/>
              <a:gd name="connsiteY80" fmla="*/ 4966086 h 5143500"/>
              <a:gd name="connsiteX81" fmla="*/ 717657 w 9144000"/>
              <a:gd name="connsiteY81" fmla="*/ 4939788 h 5143500"/>
              <a:gd name="connsiteX82" fmla="*/ 730855 w 9144000"/>
              <a:gd name="connsiteY82" fmla="*/ 4939788 h 5143500"/>
              <a:gd name="connsiteX83" fmla="*/ 661180 w 9144000"/>
              <a:gd name="connsiteY83" fmla="*/ 4930957 h 5143500"/>
              <a:gd name="connsiteX84" fmla="*/ 670010 w 9144000"/>
              <a:gd name="connsiteY84" fmla="*/ 4964921 h 5143500"/>
              <a:gd name="connsiteX85" fmla="*/ 683256 w 9144000"/>
              <a:gd name="connsiteY85" fmla="*/ 4975984 h 5143500"/>
              <a:gd name="connsiteX86" fmla="*/ 696454 w 9144000"/>
              <a:gd name="connsiteY86" fmla="*/ 4964921 h 5143500"/>
              <a:gd name="connsiteX87" fmla="*/ 705284 w 9144000"/>
              <a:gd name="connsiteY87" fmla="*/ 4930957 h 5143500"/>
              <a:gd name="connsiteX88" fmla="*/ 694853 w 9144000"/>
              <a:gd name="connsiteY88" fmla="*/ 4930957 h 5143500"/>
              <a:gd name="connsiteX89" fmla="*/ 687526 w 9144000"/>
              <a:gd name="connsiteY89" fmla="*/ 4966231 h 5143500"/>
              <a:gd name="connsiteX90" fmla="*/ 678695 w 9144000"/>
              <a:gd name="connsiteY90" fmla="*/ 4966231 h 5143500"/>
              <a:gd name="connsiteX91" fmla="*/ 671466 w 9144000"/>
              <a:gd name="connsiteY91" fmla="*/ 4930957 h 5143500"/>
              <a:gd name="connsiteX92" fmla="*/ 445655 w 9144000"/>
              <a:gd name="connsiteY92" fmla="*/ 4930957 h 5143500"/>
              <a:gd name="connsiteX93" fmla="*/ 445655 w 9144000"/>
              <a:gd name="connsiteY93" fmla="*/ 4939739 h 5143500"/>
              <a:gd name="connsiteX94" fmla="*/ 458852 w 9144000"/>
              <a:gd name="connsiteY94" fmla="*/ 4939739 h 5143500"/>
              <a:gd name="connsiteX95" fmla="*/ 458852 w 9144000"/>
              <a:gd name="connsiteY95" fmla="*/ 4966231 h 5143500"/>
              <a:gd name="connsiteX96" fmla="*/ 450070 w 9144000"/>
              <a:gd name="connsiteY96" fmla="*/ 4966231 h 5143500"/>
              <a:gd name="connsiteX97" fmla="*/ 450070 w 9144000"/>
              <a:gd name="connsiteY97" fmla="*/ 4975013 h 5143500"/>
              <a:gd name="connsiteX98" fmla="*/ 476513 w 9144000"/>
              <a:gd name="connsiteY98" fmla="*/ 4975013 h 5143500"/>
              <a:gd name="connsiteX99" fmla="*/ 476513 w 9144000"/>
              <a:gd name="connsiteY99" fmla="*/ 4966231 h 5143500"/>
              <a:gd name="connsiteX100" fmla="*/ 467683 w 9144000"/>
              <a:gd name="connsiteY100" fmla="*/ 4966231 h 5143500"/>
              <a:gd name="connsiteX101" fmla="*/ 467683 w 9144000"/>
              <a:gd name="connsiteY101" fmla="*/ 4952257 h 5143500"/>
              <a:gd name="connsiteX102" fmla="*/ 445655 w 9144000"/>
              <a:gd name="connsiteY102" fmla="*/ 4930957 h 5143500"/>
              <a:gd name="connsiteX103" fmla="*/ 586848 w 9144000"/>
              <a:gd name="connsiteY103" fmla="*/ 4930228 h 5143500"/>
              <a:gd name="connsiteX104" fmla="*/ 563995 w 9144000"/>
              <a:gd name="connsiteY104" fmla="*/ 4952984 h 5143500"/>
              <a:gd name="connsiteX105" fmla="*/ 586751 w 9144000"/>
              <a:gd name="connsiteY105" fmla="*/ 4975837 h 5143500"/>
              <a:gd name="connsiteX106" fmla="*/ 609603 w 9144000"/>
              <a:gd name="connsiteY106" fmla="*/ 4953081 h 5143500"/>
              <a:gd name="connsiteX107" fmla="*/ 609603 w 9144000"/>
              <a:gd name="connsiteY107" fmla="*/ 4952984 h 5143500"/>
              <a:gd name="connsiteX108" fmla="*/ 587829 w 9144000"/>
              <a:gd name="connsiteY108" fmla="*/ 4930228 h 5143500"/>
              <a:gd name="connsiteX109" fmla="*/ 586848 w 9144000"/>
              <a:gd name="connsiteY109" fmla="*/ 4930228 h 5143500"/>
              <a:gd name="connsiteX110" fmla="*/ 500054 w 9144000"/>
              <a:gd name="connsiteY110" fmla="*/ 4930221 h 5143500"/>
              <a:gd name="connsiteX111" fmla="*/ 499560 w 9144000"/>
              <a:gd name="connsiteY111" fmla="*/ 4930229 h 5143500"/>
              <a:gd name="connsiteX112" fmla="*/ 499366 w 9144000"/>
              <a:gd name="connsiteY112" fmla="*/ 4930229 h 5143500"/>
              <a:gd name="connsiteX113" fmla="*/ 476619 w 9144000"/>
              <a:gd name="connsiteY113" fmla="*/ 4951714 h 5143500"/>
              <a:gd name="connsiteX114" fmla="*/ 476610 w 9144000"/>
              <a:gd name="connsiteY114" fmla="*/ 4952257 h 5143500"/>
              <a:gd name="connsiteX115" fmla="*/ 498638 w 9144000"/>
              <a:gd name="connsiteY115" fmla="*/ 4975013 h 5143500"/>
              <a:gd name="connsiteX116" fmla="*/ 517755 w 9144000"/>
              <a:gd name="connsiteY116" fmla="*/ 4975013 h 5143500"/>
              <a:gd name="connsiteX117" fmla="*/ 517755 w 9144000"/>
              <a:gd name="connsiteY117" fmla="*/ 4966231 h 5143500"/>
              <a:gd name="connsiteX118" fmla="*/ 487090 w 9144000"/>
              <a:gd name="connsiteY118" fmla="*/ 4966231 h 5143500"/>
              <a:gd name="connsiteX119" fmla="*/ 487090 w 9144000"/>
              <a:gd name="connsiteY119" fmla="*/ 4957400 h 5143500"/>
              <a:gd name="connsiteX120" fmla="*/ 522364 w 9144000"/>
              <a:gd name="connsiteY120" fmla="*/ 4957400 h 5143500"/>
              <a:gd name="connsiteX121" fmla="*/ 522364 w 9144000"/>
              <a:gd name="connsiteY121" fmla="*/ 4952257 h 5143500"/>
              <a:gd name="connsiteX122" fmla="*/ 500054 w 9144000"/>
              <a:gd name="connsiteY122" fmla="*/ 4930221 h 5143500"/>
              <a:gd name="connsiteX123" fmla="*/ 638045 w 9144000"/>
              <a:gd name="connsiteY123" fmla="*/ 4930220 h 5143500"/>
              <a:gd name="connsiteX124" fmla="*/ 637502 w 9144000"/>
              <a:gd name="connsiteY124" fmla="*/ 4930229 h 5143500"/>
              <a:gd name="connsiteX125" fmla="*/ 614706 w 9144000"/>
              <a:gd name="connsiteY125" fmla="*/ 4951763 h 5143500"/>
              <a:gd name="connsiteX126" fmla="*/ 614698 w 9144000"/>
              <a:gd name="connsiteY126" fmla="*/ 4952257 h 5143500"/>
              <a:gd name="connsiteX127" fmla="*/ 636774 w 9144000"/>
              <a:gd name="connsiteY127" fmla="*/ 4975013 h 5143500"/>
              <a:gd name="connsiteX128" fmla="*/ 655843 w 9144000"/>
              <a:gd name="connsiteY128" fmla="*/ 4975013 h 5143500"/>
              <a:gd name="connsiteX129" fmla="*/ 655843 w 9144000"/>
              <a:gd name="connsiteY129" fmla="*/ 4966231 h 5143500"/>
              <a:gd name="connsiteX130" fmla="*/ 624984 w 9144000"/>
              <a:gd name="connsiteY130" fmla="*/ 4966231 h 5143500"/>
              <a:gd name="connsiteX131" fmla="*/ 624984 w 9144000"/>
              <a:gd name="connsiteY131" fmla="*/ 4957400 h 5143500"/>
              <a:gd name="connsiteX132" fmla="*/ 660258 w 9144000"/>
              <a:gd name="connsiteY132" fmla="*/ 4957400 h 5143500"/>
              <a:gd name="connsiteX133" fmla="*/ 660258 w 9144000"/>
              <a:gd name="connsiteY133" fmla="*/ 4952257 h 5143500"/>
              <a:gd name="connsiteX134" fmla="*/ 638045 w 9144000"/>
              <a:gd name="connsiteY134" fmla="*/ 4930220 h 5143500"/>
              <a:gd name="connsiteX135" fmla="*/ 459046 w 9144000"/>
              <a:gd name="connsiteY135" fmla="*/ 4915139 h 5143500"/>
              <a:gd name="connsiteX136" fmla="*/ 452739 w 9144000"/>
              <a:gd name="connsiteY136" fmla="*/ 4921350 h 5143500"/>
              <a:gd name="connsiteX137" fmla="*/ 452739 w 9144000"/>
              <a:gd name="connsiteY137" fmla="*/ 4921398 h 5143500"/>
              <a:gd name="connsiteX138" fmla="*/ 458949 w 9144000"/>
              <a:gd name="connsiteY138" fmla="*/ 4927657 h 5143500"/>
              <a:gd name="connsiteX139" fmla="*/ 465257 w 9144000"/>
              <a:gd name="connsiteY139" fmla="*/ 4921447 h 5143500"/>
              <a:gd name="connsiteX140" fmla="*/ 459046 w 9144000"/>
              <a:gd name="connsiteY140" fmla="*/ 4915139 h 5143500"/>
              <a:gd name="connsiteX141" fmla="*/ 318127 w 9144000"/>
              <a:gd name="connsiteY141" fmla="*/ 4913726 h 5143500"/>
              <a:gd name="connsiteX142" fmla="*/ 318127 w 9144000"/>
              <a:gd name="connsiteY142" fmla="*/ 4925468 h 5143500"/>
              <a:gd name="connsiteX143" fmla="*/ 306337 w 9144000"/>
              <a:gd name="connsiteY143" fmla="*/ 4925468 h 5143500"/>
              <a:gd name="connsiteX144" fmla="*/ 306337 w 9144000"/>
              <a:gd name="connsiteY144" fmla="*/ 4937258 h 5143500"/>
              <a:gd name="connsiteX145" fmla="*/ 294595 w 9144000"/>
              <a:gd name="connsiteY145" fmla="*/ 4937258 h 5143500"/>
              <a:gd name="connsiteX146" fmla="*/ 294595 w 9144000"/>
              <a:gd name="connsiteY146" fmla="*/ 4949000 h 5143500"/>
              <a:gd name="connsiteX147" fmla="*/ 294595 w 9144000"/>
              <a:gd name="connsiteY147" fmla="*/ 4960742 h 5143500"/>
              <a:gd name="connsiteX148" fmla="*/ 306337 w 9144000"/>
              <a:gd name="connsiteY148" fmla="*/ 4960742 h 5143500"/>
              <a:gd name="connsiteX149" fmla="*/ 318127 w 9144000"/>
              <a:gd name="connsiteY149" fmla="*/ 4960742 h 5143500"/>
              <a:gd name="connsiteX150" fmla="*/ 318127 w 9144000"/>
              <a:gd name="connsiteY150" fmla="*/ 4949000 h 5143500"/>
              <a:gd name="connsiteX151" fmla="*/ 318127 w 9144000"/>
              <a:gd name="connsiteY151" fmla="*/ 4937258 h 5143500"/>
              <a:gd name="connsiteX152" fmla="*/ 329869 w 9144000"/>
              <a:gd name="connsiteY152" fmla="*/ 4937258 h 5143500"/>
              <a:gd name="connsiteX153" fmla="*/ 341611 w 9144000"/>
              <a:gd name="connsiteY153" fmla="*/ 4937258 h 5143500"/>
              <a:gd name="connsiteX154" fmla="*/ 341611 w 9144000"/>
              <a:gd name="connsiteY154" fmla="*/ 4925468 h 5143500"/>
              <a:gd name="connsiteX155" fmla="*/ 341611 w 9144000"/>
              <a:gd name="connsiteY155" fmla="*/ 4913726 h 5143500"/>
              <a:gd name="connsiteX156" fmla="*/ 329869 w 9144000"/>
              <a:gd name="connsiteY156" fmla="*/ 4913726 h 5143500"/>
              <a:gd name="connsiteX157" fmla="*/ 533912 w 9144000"/>
              <a:gd name="connsiteY157" fmla="*/ 4913441 h 5143500"/>
              <a:gd name="connsiteX158" fmla="*/ 533912 w 9144000"/>
              <a:gd name="connsiteY158" fmla="*/ 4931102 h 5143500"/>
              <a:gd name="connsiteX159" fmla="*/ 523626 w 9144000"/>
              <a:gd name="connsiteY159" fmla="*/ 4931102 h 5143500"/>
              <a:gd name="connsiteX160" fmla="*/ 523626 w 9144000"/>
              <a:gd name="connsiteY160" fmla="*/ 4939933 h 5143500"/>
              <a:gd name="connsiteX161" fmla="*/ 533912 w 9144000"/>
              <a:gd name="connsiteY161" fmla="*/ 4939933 h 5143500"/>
              <a:gd name="connsiteX162" fmla="*/ 533912 w 9144000"/>
              <a:gd name="connsiteY162" fmla="*/ 4953858 h 5143500"/>
              <a:gd name="connsiteX163" fmla="*/ 555212 w 9144000"/>
              <a:gd name="connsiteY163" fmla="*/ 4975207 h 5143500"/>
              <a:gd name="connsiteX164" fmla="*/ 561859 w 9144000"/>
              <a:gd name="connsiteY164" fmla="*/ 4975207 h 5143500"/>
              <a:gd name="connsiteX165" fmla="*/ 561859 w 9144000"/>
              <a:gd name="connsiteY165" fmla="*/ 4966376 h 5143500"/>
              <a:gd name="connsiteX166" fmla="*/ 542743 w 9144000"/>
              <a:gd name="connsiteY166" fmla="*/ 4966376 h 5143500"/>
              <a:gd name="connsiteX167" fmla="*/ 542743 w 9144000"/>
              <a:gd name="connsiteY167" fmla="*/ 4939787 h 5143500"/>
              <a:gd name="connsiteX168" fmla="*/ 557299 w 9144000"/>
              <a:gd name="connsiteY168" fmla="*/ 4939787 h 5143500"/>
              <a:gd name="connsiteX169" fmla="*/ 557299 w 9144000"/>
              <a:gd name="connsiteY169" fmla="*/ 4930957 h 5143500"/>
              <a:gd name="connsiteX170" fmla="*/ 542743 w 9144000"/>
              <a:gd name="connsiteY170" fmla="*/ 4930957 h 5143500"/>
              <a:gd name="connsiteX171" fmla="*/ 542743 w 9144000"/>
              <a:gd name="connsiteY171" fmla="*/ 4913441 h 5143500"/>
              <a:gd name="connsiteX172" fmla="*/ 416348 w 9144000"/>
              <a:gd name="connsiteY172" fmla="*/ 4913441 h 5143500"/>
              <a:gd name="connsiteX173" fmla="*/ 416348 w 9144000"/>
              <a:gd name="connsiteY173" fmla="*/ 4931102 h 5143500"/>
              <a:gd name="connsiteX174" fmla="*/ 406062 w 9144000"/>
              <a:gd name="connsiteY174" fmla="*/ 4931102 h 5143500"/>
              <a:gd name="connsiteX175" fmla="*/ 406062 w 9144000"/>
              <a:gd name="connsiteY175" fmla="*/ 4939933 h 5143500"/>
              <a:gd name="connsiteX176" fmla="*/ 416348 w 9144000"/>
              <a:gd name="connsiteY176" fmla="*/ 4939933 h 5143500"/>
              <a:gd name="connsiteX177" fmla="*/ 416348 w 9144000"/>
              <a:gd name="connsiteY177" fmla="*/ 4953130 h 5143500"/>
              <a:gd name="connsiteX178" fmla="*/ 437648 w 9144000"/>
              <a:gd name="connsiteY178" fmla="*/ 4975207 h 5143500"/>
              <a:gd name="connsiteX179" fmla="*/ 441336 w 9144000"/>
              <a:gd name="connsiteY179" fmla="*/ 4975207 h 5143500"/>
              <a:gd name="connsiteX180" fmla="*/ 441336 w 9144000"/>
              <a:gd name="connsiteY180" fmla="*/ 4966376 h 5143500"/>
              <a:gd name="connsiteX181" fmla="*/ 425179 w 9144000"/>
              <a:gd name="connsiteY181" fmla="*/ 4966376 h 5143500"/>
              <a:gd name="connsiteX182" fmla="*/ 425179 w 9144000"/>
              <a:gd name="connsiteY182" fmla="*/ 4939787 h 5143500"/>
              <a:gd name="connsiteX183" fmla="*/ 436920 w 9144000"/>
              <a:gd name="connsiteY183" fmla="*/ 4939787 h 5143500"/>
              <a:gd name="connsiteX184" fmla="*/ 436920 w 9144000"/>
              <a:gd name="connsiteY184" fmla="*/ 4930957 h 5143500"/>
              <a:gd name="connsiteX185" fmla="*/ 425179 w 9144000"/>
              <a:gd name="connsiteY185" fmla="*/ 4930957 h 5143500"/>
              <a:gd name="connsiteX186" fmla="*/ 425179 w 9144000"/>
              <a:gd name="connsiteY186" fmla="*/ 4913441 h 5143500"/>
              <a:gd name="connsiteX187" fmla="*/ 0 w 9144000"/>
              <a:gd name="connsiteY187" fmla="*/ 0 h 5143500"/>
              <a:gd name="connsiteX188" fmla="*/ 9144000 w 9144000"/>
              <a:gd name="connsiteY188" fmla="*/ 0 h 5143500"/>
              <a:gd name="connsiteX189" fmla="*/ 9144000 w 9144000"/>
              <a:gd name="connsiteY189" fmla="*/ 5143500 h 5143500"/>
              <a:gd name="connsiteX190" fmla="*/ 0 w 9144000"/>
              <a:gd name="connsiteY190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</a:cxnLst>
            <a:rect l="l" t="t" r="r" b="b"/>
            <a:pathLst>
              <a:path w="9144000" h="5143500">
                <a:moveTo>
                  <a:pt x="347256" y="4985347"/>
                </a:moveTo>
                <a:cubicBezTo>
                  <a:pt x="344817" y="4985347"/>
                  <a:pt x="342841" y="4987324"/>
                  <a:pt x="342841" y="4989763"/>
                </a:cubicBezTo>
                <a:cubicBezTo>
                  <a:pt x="342841" y="4992202"/>
                  <a:pt x="344818" y="4994178"/>
                  <a:pt x="347256" y="4994178"/>
                </a:cubicBezTo>
                <a:cubicBezTo>
                  <a:pt x="349695" y="4994178"/>
                  <a:pt x="351671" y="4992201"/>
                  <a:pt x="351671" y="4989762"/>
                </a:cubicBezTo>
                <a:cubicBezTo>
                  <a:pt x="351671" y="4989746"/>
                  <a:pt x="351671" y="4989730"/>
                  <a:pt x="351671" y="4989714"/>
                </a:cubicBezTo>
                <a:cubicBezTo>
                  <a:pt x="351671" y="4987302"/>
                  <a:pt x="349716" y="4985347"/>
                  <a:pt x="347304" y="4985347"/>
                </a:cubicBezTo>
                <a:cubicBezTo>
                  <a:pt x="347288" y="4985347"/>
                  <a:pt x="347272" y="4985347"/>
                  <a:pt x="347256" y="4985347"/>
                </a:cubicBezTo>
                <a:close/>
                <a:moveTo>
                  <a:pt x="335514" y="4984571"/>
                </a:moveTo>
                <a:cubicBezTo>
                  <a:pt x="332673" y="4984571"/>
                  <a:pt x="330371" y="4986874"/>
                  <a:pt x="330371" y="4989714"/>
                </a:cubicBezTo>
                <a:cubicBezTo>
                  <a:pt x="330371" y="4992555"/>
                  <a:pt x="332673" y="4994857"/>
                  <a:pt x="335514" y="4994857"/>
                </a:cubicBezTo>
                <a:cubicBezTo>
                  <a:pt x="338354" y="4994857"/>
                  <a:pt x="340657" y="4992555"/>
                  <a:pt x="340657" y="4989714"/>
                </a:cubicBezTo>
                <a:cubicBezTo>
                  <a:pt x="340657" y="4986874"/>
                  <a:pt x="338354" y="4984571"/>
                  <a:pt x="335514" y="4984571"/>
                </a:cubicBezTo>
                <a:close/>
                <a:moveTo>
                  <a:pt x="358998" y="4972829"/>
                </a:moveTo>
                <a:cubicBezTo>
                  <a:pt x="356157" y="4972829"/>
                  <a:pt x="353855" y="4975132"/>
                  <a:pt x="353855" y="4977972"/>
                </a:cubicBezTo>
                <a:cubicBezTo>
                  <a:pt x="353855" y="4980813"/>
                  <a:pt x="356157" y="4983115"/>
                  <a:pt x="358998" y="4983115"/>
                </a:cubicBezTo>
                <a:cubicBezTo>
                  <a:pt x="361838" y="4983115"/>
                  <a:pt x="364141" y="4980813"/>
                  <a:pt x="364141" y="4977972"/>
                </a:cubicBezTo>
                <a:cubicBezTo>
                  <a:pt x="364141" y="4975132"/>
                  <a:pt x="361838" y="4972829"/>
                  <a:pt x="358998" y="4972829"/>
                </a:cubicBezTo>
                <a:close/>
                <a:moveTo>
                  <a:pt x="335514" y="4972102"/>
                </a:moveTo>
                <a:cubicBezTo>
                  <a:pt x="332273" y="4972182"/>
                  <a:pt x="329710" y="4974875"/>
                  <a:pt x="329791" y="4978117"/>
                </a:cubicBezTo>
                <a:cubicBezTo>
                  <a:pt x="329871" y="4981358"/>
                  <a:pt x="332564" y="4983921"/>
                  <a:pt x="335805" y="4983840"/>
                </a:cubicBezTo>
                <a:lnTo>
                  <a:pt x="341459" y="4978047"/>
                </a:lnTo>
                <a:lnTo>
                  <a:pt x="347256" y="4983844"/>
                </a:lnTo>
                <a:cubicBezTo>
                  <a:pt x="350498" y="4983844"/>
                  <a:pt x="353127" y="4981215"/>
                  <a:pt x="353127" y="4977973"/>
                </a:cubicBezTo>
                <a:cubicBezTo>
                  <a:pt x="353127" y="4974730"/>
                  <a:pt x="350498" y="4972102"/>
                  <a:pt x="347256" y="4972102"/>
                </a:cubicBezTo>
                <a:lnTo>
                  <a:pt x="341458" y="4977900"/>
                </a:lnTo>
                <a:lnTo>
                  <a:pt x="335660" y="4972102"/>
                </a:lnTo>
                <a:close/>
                <a:moveTo>
                  <a:pt x="370642" y="4961961"/>
                </a:moveTo>
                <a:cubicBezTo>
                  <a:pt x="368204" y="4961961"/>
                  <a:pt x="366227" y="4963938"/>
                  <a:pt x="366227" y="4966376"/>
                </a:cubicBezTo>
                <a:cubicBezTo>
                  <a:pt x="366227" y="4968815"/>
                  <a:pt x="368204" y="4970792"/>
                  <a:pt x="370642" y="4970792"/>
                </a:cubicBezTo>
                <a:cubicBezTo>
                  <a:pt x="373081" y="4970792"/>
                  <a:pt x="375057" y="4968815"/>
                  <a:pt x="375057" y="4966376"/>
                </a:cubicBezTo>
                <a:cubicBezTo>
                  <a:pt x="375057" y="4963938"/>
                  <a:pt x="373081" y="4961961"/>
                  <a:pt x="370642" y="4961961"/>
                </a:cubicBezTo>
                <a:close/>
                <a:moveTo>
                  <a:pt x="370643" y="4949297"/>
                </a:moveTo>
                <a:cubicBezTo>
                  <a:pt x="367802" y="4949297"/>
                  <a:pt x="365500" y="4951600"/>
                  <a:pt x="365500" y="4954440"/>
                </a:cubicBezTo>
                <a:cubicBezTo>
                  <a:pt x="365500" y="4957281"/>
                  <a:pt x="367802" y="4959583"/>
                  <a:pt x="370643" y="4959583"/>
                </a:cubicBezTo>
                <a:cubicBezTo>
                  <a:pt x="373483" y="4959583"/>
                  <a:pt x="375786" y="4957281"/>
                  <a:pt x="375786" y="4954440"/>
                </a:cubicBezTo>
                <a:cubicBezTo>
                  <a:pt x="375786" y="4951600"/>
                  <a:pt x="373483" y="4949297"/>
                  <a:pt x="370643" y="4949297"/>
                </a:cubicBezTo>
                <a:close/>
                <a:moveTo>
                  <a:pt x="358998" y="4948521"/>
                </a:moveTo>
                <a:cubicBezTo>
                  <a:pt x="355729" y="4948521"/>
                  <a:pt x="353079" y="4951171"/>
                  <a:pt x="353079" y="4954440"/>
                </a:cubicBezTo>
                <a:cubicBezTo>
                  <a:pt x="353079" y="4957710"/>
                  <a:pt x="355729" y="4960360"/>
                  <a:pt x="358998" y="4960360"/>
                </a:cubicBezTo>
                <a:cubicBezTo>
                  <a:pt x="355755" y="4960360"/>
                  <a:pt x="353127" y="4962989"/>
                  <a:pt x="353127" y="4966231"/>
                </a:cubicBezTo>
                <a:cubicBezTo>
                  <a:pt x="353100" y="4969500"/>
                  <a:pt x="355729" y="4972172"/>
                  <a:pt x="358998" y="4972199"/>
                </a:cubicBezTo>
                <a:cubicBezTo>
                  <a:pt x="362267" y="4972225"/>
                  <a:pt x="364939" y="4969597"/>
                  <a:pt x="364965" y="4966328"/>
                </a:cubicBezTo>
                <a:cubicBezTo>
                  <a:pt x="364992" y="4963059"/>
                  <a:pt x="362364" y="4960387"/>
                  <a:pt x="359094" y="4960360"/>
                </a:cubicBezTo>
                <a:cubicBezTo>
                  <a:pt x="359062" y="4960360"/>
                  <a:pt x="359030" y="4960360"/>
                  <a:pt x="358998" y="4960360"/>
                </a:cubicBezTo>
                <a:cubicBezTo>
                  <a:pt x="362267" y="4960360"/>
                  <a:pt x="364918" y="4957710"/>
                  <a:pt x="364918" y="4954440"/>
                </a:cubicBezTo>
                <a:cubicBezTo>
                  <a:pt x="364918" y="4951171"/>
                  <a:pt x="362267" y="4948521"/>
                  <a:pt x="358998" y="4948521"/>
                </a:cubicBezTo>
                <a:close/>
                <a:moveTo>
                  <a:pt x="625032" y="4939788"/>
                </a:moveTo>
                <a:lnTo>
                  <a:pt x="650020" y="4939788"/>
                </a:lnTo>
                <a:lnTo>
                  <a:pt x="650020" y="4948570"/>
                </a:lnTo>
                <a:lnTo>
                  <a:pt x="625032" y="4948570"/>
                </a:lnTo>
                <a:close/>
                <a:moveTo>
                  <a:pt x="487090" y="4939788"/>
                </a:moveTo>
                <a:lnTo>
                  <a:pt x="512078" y="4939788"/>
                </a:lnTo>
                <a:lnTo>
                  <a:pt x="511884" y="4948570"/>
                </a:lnTo>
                <a:lnTo>
                  <a:pt x="487090" y="4948570"/>
                </a:lnTo>
                <a:close/>
                <a:moveTo>
                  <a:pt x="573602" y="4939738"/>
                </a:moveTo>
                <a:lnTo>
                  <a:pt x="600045" y="4939738"/>
                </a:lnTo>
                <a:lnTo>
                  <a:pt x="600045" y="4966230"/>
                </a:lnTo>
                <a:lnTo>
                  <a:pt x="573602" y="4966230"/>
                </a:lnTo>
                <a:close/>
                <a:moveTo>
                  <a:pt x="737502" y="4930957"/>
                </a:moveTo>
                <a:cubicBezTo>
                  <a:pt x="737502" y="4930957"/>
                  <a:pt x="744197" y="4957740"/>
                  <a:pt x="745556" y="4963271"/>
                </a:cubicBezTo>
                <a:cubicBezTo>
                  <a:pt x="746915" y="4968803"/>
                  <a:pt x="750020" y="4975790"/>
                  <a:pt x="757395" y="4975790"/>
                </a:cubicBezTo>
                <a:lnTo>
                  <a:pt x="761713" y="4975790"/>
                </a:lnTo>
                <a:lnTo>
                  <a:pt x="761713" y="4985494"/>
                </a:lnTo>
                <a:lnTo>
                  <a:pt x="745556" y="4985494"/>
                </a:lnTo>
                <a:lnTo>
                  <a:pt x="745556" y="4994276"/>
                </a:lnTo>
                <a:lnTo>
                  <a:pt x="748516" y="4994276"/>
                </a:lnTo>
                <a:cubicBezTo>
                  <a:pt x="758603" y="4994291"/>
                  <a:pt x="767528" y="4987745"/>
                  <a:pt x="770544" y="4978119"/>
                </a:cubicBezTo>
                <a:cubicBezTo>
                  <a:pt x="772630" y="4969822"/>
                  <a:pt x="782286" y="4931103"/>
                  <a:pt x="782286" y="4931103"/>
                </a:cubicBezTo>
                <a:lnTo>
                  <a:pt x="771999" y="4930957"/>
                </a:lnTo>
                <a:lnTo>
                  <a:pt x="765401" y="4966231"/>
                </a:lnTo>
                <a:lnTo>
                  <a:pt x="754387" y="4966231"/>
                </a:lnTo>
                <a:lnTo>
                  <a:pt x="747788" y="4930957"/>
                </a:lnTo>
                <a:close/>
                <a:moveTo>
                  <a:pt x="730855" y="4930957"/>
                </a:moveTo>
                <a:cubicBezTo>
                  <a:pt x="719579" y="4930099"/>
                  <a:pt x="709743" y="4938544"/>
                  <a:pt x="708885" y="4949820"/>
                </a:cubicBezTo>
                <a:cubicBezTo>
                  <a:pt x="708842" y="4950389"/>
                  <a:pt x="708822" y="4950959"/>
                  <a:pt x="708827" y="4951530"/>
                </a:cubicBezTo>
                <a:lnTo>
                  <a:pt x="708827" y="4966086"/>
                </a:lnTo>
                <a:lnTo>
                  <a:pt x="702956" y="4966086"/>
                </a:lnTo>
                <a:lnTo>
                  <a:pt x="702956" y="4974916"/>
                </a:lnTo>
                <a:lnTo>
                  <a:pt x="733814" y="4974916"/>
                </a:lnTo>
                <a:lnTo>
                  <a:pt x="733814" y="4966086"/>
                </a:lnTo>
                <a:lnTo>
                  <a:pt x="717657" y="4966086"/>
                </a:lnTo>
                <a:lnTo>
                  <a:pt x="717657" y="4939788"/>
                </a:lnTo>
                <a:lnTo>
                  <a:pt x="730855" y="4939788"/>
                </a:lnTo>
                <a:close/>
                <a:moveTo>
                  <a:pt x="661180" y="4930957"/>
                </a:moveTo>
                <a:cubicBezTo>
                  <a:pt x="661180" y="4930957"/>
                  <a:pt x="667681" y="4955945"/>
                  <a:pt x="670010" y="4964921"/>
                </a:cubicBezTo>
                <a:cubicBezTo>
                  <a:pt x="670841" y="4971512"/>
                  <a:pt x="676623" y="4976341"/>
                  <a:pt x="683256" y="4975984"/>
                </a:cubicBezTo>
                <a:cubicBezTo>
                  <a:pt x="690534" y="4975984"/>
                  <a:pt x="694270" y="4973752"/>
                  <a:pt x="696454" y="4964921"/>
                </a:cubicBezTo>
                <a:cubicBezTo>
                  <a:pt x="698637" y="4956091"/>
                  <a:pt x="705284" y="4930957"/>
                  <a:pt x="705284" y="4930957"/>
                </a:cubicBezTo>
                <a:lnTo>
                  <a:pt x="694853" y="4930957"/>
                </a:lnTo>
                <a:lnTo>
                  <a:pt x="687526" y="4966231"/>
                </a:lnTo>
                <a:lnTo>
                  <a:pt x="678695" y="4966231"/>
                </a:lnTo>
                <a:lnTo>
                  <a:pt x="671466" y="4930957"/>
                </a:lnTo>
                <a:close/>
                <a:moveTo>
                  <a:pt x="445655" y="4930957"/>
                </a:moveTo>
                <a:lnTo>
                  <a:pt x="445655" y="4939739"/>
                </a:lnTo>
                <a:lnTo>
                  <a:pt x="458852" y="4939739"/>
                </a:lnTo>
                <a:lnTo>
                  <a:pt x="458852" y="4966231"/>
                </a:lnTo>
                <a:lnTo>
                  <a:pt x="450070" y="4966231"/>
                </a:lnTo>
                <a:lnTo>
                  <a:pt x="450070" y="4975013"/>
                </a:lnTo>
                <a:lnTo>
                  <a:pt x="476513" y="4975013"/>
                </a:lnTo>
                <a:lnTo>
                  <a:pt x="476513" y="4966231"/>
                </a:lnTo>
                <a:lnTo>
                  <a:pt x="467683" y="4966231"/>
                </a:lnTo>
                <a:lnTo>
                  <a:pt x="467683" y="4952257"/>
                </a:lnTo>
                <a:cubicBezTo>
                  <a:pt x="467683" y="4938672"/>
                  <a:pt x="458852" y="4930957"/>
                  <a:pt x="445655" y="4930957"/>
                </a:cubicBezTo>
                <a:close/>
                <a:moveTo>
                  <a:pt x="586848" y="4930228"/>
                </a:moveTo>
                <a:cubicBezTo>
                  <a:pt x="574253" y="4930202"/>
                  <a:pt x="564022" y="4940390"/>
                  <a:pt x="563995" y="4952984"/>
                </a:cubicBezTo>
                <a:cubicBezTo>
                  <a:pt x="563968" y="4965579"/>
                  <a:pt x="574156" y="4975810"/>
                  <a:pt x="586751" y="4975837"/>
                </a:cubicBezTo>
                <a:cubicBezTo>
                  <a:pt x="599345" y="4975864"/>
                  <a:pt x="609577" y="4965676"/>
                  <a:pt x="609603" y="4953081"/>
                </a:cubicBezTo>
                <a:cubicBezTo>
                  <a:pt x="609603" y="4953049"/>
                  <a:pt x="609603" y="4953017"/>
                  <a:pt x="609603" y="4952984"/>
                </a:cubicBezTo>
                <a:cubicBezTo>
                  <a:pt x="609874" y="4940688"/>
                  <a:pt x="600126" y="4930499"/>
                  <a:pt x="587829" y="4930228"/>
                </a:cubicBezTo>
                <a:cubicBezTo>
                  <a:pt x="587502" y="4930221"/>
                  <a:pt x="587175" y="4930221"/>
                  <a:pt x="586848" y="4930228"/>
                </a:cubicBezTo>
                <a:close/>
                <a:moveTo>
                  <a:pt x="500054" y="4930221"/>
                </a:moveTo>
                <a:cubicBezTo>
                  <a:pt x="499889" y="4930222"/>
                  <a:pt x="499724" y="4930224"/>
                  <a:pt x="499560" y="4930229"/>
                </a:cubicBezTo>
                <a:lnTo>
                  <a:pt x="499366" y="4930229"/>
                </a:lnTo>
                <a:cubicBezTo>
                  <a:pt x="487151" y="4929881"/>
                  <a:pt x="476967" y="4939500"/>
                  <a:pt x="476619" y="4951714"/>
                </a:cubicBezTo>
                <a:cubicBezTo>
                  <a:pt x="476613" y="4951895"/>
                  <a:pt x="476610" y="4952076"/>
                  <a:pt x="476610" y="4952257"/>
                </a:cubicBezTo>
                <a:cubicBezTo>
                  <a:pt x="476604" y="4964546"/>
                  <a:pt x="486355" y="4974620"/>
                  <a:pt x="498638" y="4975013"/>
                </a:cubicBezTo>
                <a:lnTo>
                  <a:pt x="517755" y="4975013"/>
                </a:lnTo>
                <a:lnTo>
                  <a:pt x="517755" y="4966231"/>
                </a:lnTo>
                <a:lnTo>
                  <a:pt x="487090" y="4966231"/>
                </a:lnTo>
                <a:lnTo>
                  <a:pt x="487090" y="4957400"/>
                </a:lnTo>
                <a:lnTo>
                  <a:pt x="522364" y="4957400"/>
                </a:lnTo>
                <a:lnTo>
                  <a:pt x="522364" y="4952257"/>
                </a:lnTo>
                <a:cubicBezTo>
                  <a:pt x="522289" y="4940011"/>
                  <a:pt x="512300" y="4930145"/>
                  <a:pt x="500054" y="4930221"/>
                </a:cubicBezTo>
                <a:close/>
                <a:moveTo>
                  <a:pt x="638045" y="4930220"/>
                </a:moveTo>
                <a:cubicBezTo>
                  <a:pt x="637864" y="4930221"/>
                  <a:pt x="637683" y="4930224"/>
                  <a:pt x="637502" y="4930229"/>
                </a:cubicBezTo>
                <a:cubicBezTo>
                  <a:pt x="625261" y="4929881"/>
                  <a:pt x="615055" y="4939521"/>
                  <a:pt x="614706" y="4951763"/>
                </a:cubicBezTo>
                <a:cubicBezTo>
                  <a:pt x="614702" y="4951927"/>
                  <a:pt x="614699" y="4952092"/>
                  <a:pt x="614698" y="4952257"/>
                </a:cubicBezTo>
                <a:cubicBezTo>
                  <a:pt x="614692" y="4964564"/>
                  <a:pt x="624473" y="4974646"/>
                  <a:pt x="636774" y="4975013"/>
                </a:cubicBezTo>
                <a:lnTo>
                  <a:pt x="655843" y="4975013"/>
                </a:lnTo>
                <a:lnTo>
                  <a:pt x="655843" y="4966231"/>
                </a:lnTo>
                <a:lnTo>
                  <a:pt x="624984" y="4966231"/>
                </a:lnTo>
                <a:lnTo>
                  <a:pt x="624984" y="4957400"/>
                </a:lnTo>
                <a:lnTo>
                  <a:pt x="660258" y="4957400"/>
                </a:lnTo>
                <a:lnTo>
                  <a:pt x="660258" y="4952257"/>
                </a:lnTo>
                <a:cubicBezTo>
                  <a:pt x="660209" y="4940038"/>
                  <a:pt x="650264" y="4930172"/>
                  <a:pt x="638045" y="4930220"/>
                </a:cubicBezTo>
                <a:close/>
                <a:moveTo>
                  <a:pt x="459046" y="4915139"/>
                </a:moveTo>
                <a:cubicBezTo>
                  <a:pt x="455590" y="4915112"/>
                  <a:pt x="452766" y="4917893"/>
                  <a:pt x="452739" y="4921350"/>
                </a:cubicBezTo>
                <a:cubicBezTo>
                  <a:pt x="452739" y="4921366"/>
                  <a:pt x="452739" y="4921382"/>
                  <a:pt x="452739" y="4921398"/>
                </a:cubicBezTo>
                <a:cubicBezTo>
                  <a:pt x="452739" y="4924836"/>
                  <a:pt x="455511" y="4927630"/>
                  <a:pt x="458949" y="4927657"/>
                </a:cubicBezTo>
                <a:cubicBezTo>
                  <a:pt x="462406" y="4927684"/>
                  <a:pt x="465230" y="4924903"/>
                  <a:pt x="465257" y="4921447"/>
                </a:cubicBezTo>
                <a:cubicBezTo>
                  <a:pt x="465283" y="4917990"/>
                  <a:pt x="462503" y="4915166"/>
                  <a:pt x="459046" y="4915139"/>
                </a:cubicBezTo>
                <a:close/>
                <a:moveTo>
                  <a:pt x="318127" y="4913726"/>
                </a:moveTo>
                <a:lnTo>
                  <a:pt x="318127" y="4925468"/>
                </a:lnTo>
                <a:lnTo>
                  <a:pt x="306337" y="4925468"/>
                </a:lnTo>
                <a:lnTo>
                  <a:pt x="306337" y="4937258"/>
                </a:lnTo>
                <a:lnTo>
                  <a:pt x="294595" y="4937258"/>
                </a:lnTo>
                <a:lnTo>
                  <a:pt x="294595" y="4949000"/>
                </a:lnTo>
                <a:lnTo>
                  <a:pt x="294595" y="4960742"/>
                </a:lnTo>
                <a:lnTo>
                  <a:pt x="306337" y="4960742"/>
                </a:lnTo>
                <a:lnTo>
                  <a:pt x="318127" y="4960742"/>
                </a:lnTo>
                <a:lnTo>
                  <a:pt x="318127" y="4949000"/>
                </a:lnTo>
                <a:lnTo>
                  <a:pt x="318127" y="4937258"/>
                </a:lnTo>
                <a:lnTo>
                  <a:pt x="329869" y="4937258"/>
                </a:lnTo>
                <a:lnTo>
                  <a:pt x="341611" y="4937258"/>
                </a:lnTo>
                <a:lnTo>
                  <a:pt x="341611" y="4925468"/>
                </a:lnTo>
                <a:lnTo>
                  <a:pt x="341611" y="4913726"/>
                </a:lnTo>
                <a:lnTo>
                  <a:pt x="329869" y="4913726"/>
                </a:lnTo>
                <a:close/>
                <a:moveTo>
                  <a:pt x="533912" y="4913441"/>
                </a:moveTo>
                <a:lnTo>
                  <a:pt x="533912" y="4931102"/>
                </a:lnTo>
                <a:lnTo>
                  <a:pt x="523626" y="4931102"/>
                </a:lnTo>
                <a:lnTo>
                  <a:pt x="523626" y="4939933"/>
                </a:lnTo>
                <a:lnTo>
                  <a:pt x="533912" y="4939933"/>
                </a:lnTo>
                <a:lnTo>
                  <a:pt x="533912" y="4953858"/>
                </a:lnTo>
                <a:cubicBezTo>
                  <a:pt x="533912" y="4967104"/>
                  <a:pt x="540511" y="4975207"/>
                  <a:pt x="555212" y="4975207"/>
                </a:cubicBezTo>
                <a:lnTo>
                  <a:pt x="561859" y="4975207"/>
                </a:lnTo>
                <a:lnTo>
                  <a:pt x="561859" y="4966376"/>
                </a:lnTo>
                <a:lnTo>
                  <a:pt x="542743" y="4966376"/>
                </a:lnTo>
                <a:lnTo>
                  <a:pt x="542743" y="4939787"/>
                </a:lnTo>
                <a:lnTo>
                  <a:pt x="557299" y="4939787"/>
                </a:lnTo>
                <a:lnTo>
                  <a:pt x="557299" y="4930957"/>
                </a:lnTo>
                <a:lnTo>
                  <a:pt x="542743" y="4930957"/>
                </a:lnTo>
                <a:lnTo>
                  <a:pt x="542743" y="4913441"/>
                </a:lnTo>
                <a:close/>
                <a:moveTo>
                  <a:pt x="416348" y="4913441"/>
                </a:moveTo>
                <a:lnTo>
                  <a:pt x="416348" y="4931102"/>
                </a:lnTo>
                <a:lnTo>
                  <a:pt x="406062" y="4931102"/>
                </a:lnTo>
                <a:lnTo>
                  <a:pt x="406062" y="4939933"/>
                </a:lnTo>
                <a:lnTo>
                  <a:pt x="416348" y="4939933"/>
                </a:lnTo>
                <a:lnTo>
                  <a:pt x="416348" y="4953130"/>
                </a:lnTo>
                <a:cubicBezTo>
                  <a:pt x="416348" y="4966376"/>
                  <a:pt x="422947" y="4975207"/>
                  <a:pt x="437648" y="4975207"/>
                </a:cubicBezTo>
                <a:lnTo>
                  <a:pt x="441336" y="4975207"/>
                </a:lnTo>
                <a:lnTo>
                  <a:pt x="441336" y="4966376"/>
                </a:lnTo>
                <a:lnTo>
                  <a:pt x="425179" y="4966376"/>
                </a:lnTo>
                <a:lnTo>
                  <a:pt x="425179" y="4939787"/>
                </a:lnTo>
                <a:lnTo>
                  <a:pt x="436920" y="4939787"/>
                </a:lnTo>
                <a:lnTo>
                  <a:pt x="436920" y="4930957"/>
                </a:lnTo>
                <a:lnTo>
                  <a:pt x="425179" y="4930957"/>
                </a:lnTo>
                <a:lnTo>
                  <a:pt x="425179" y="4913441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287339" y="735014"/>
            <a:ext cx="3273091" cy="17931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dd your quot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93DDC7-6347-4E7C-80D6-CA23706A068E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3829" y="231775"/>
            <a:ext cx="3276600" cy="365208"/>
          </a:xfrm>
        </p:spPr>
        <p:txBody>
          <a:bodyPr tIns="36000">
            <a:normAutofit/>
          </a:bodyPr>
          <a:lstStyle>
            <a:lvl1pPr marL="0" indent="0">
              <a:spcBef>
                <a:spcPts val="0"/>
              </a:spcBef>
              <a:buClr>
                <a:schemeClr val="accent6"/>
              </a:buClr>
              <a:buFont typeface="+mj-lt"/>
              <a:buNone/>
              <a:defRPr sz="1200">
                <a:solidFill>
                  <a:srgbClr val="E9EC6B"/>
                </a:solidFill>
              </a:defRPr>
            </a:lvl1pPr>
            <a:lvl2pPr marL="234944" indent="0">
              <a:buClr>
                <a:schemeClr val="accent6"/>
              </a:buClr>
              <a:buFont typeface="+mj-lt"/>
              <a:buNone/>
              <a:defRPr>
                <a:solidFill>
                  <a:schemeClr val="bg1"/>
                </a:solidFill>
              </a:defRPr>
            </a:lvl2pPr>
            <a:lvl3pPr marL="587360" indent="-174621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768331" indent="-188909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946127" indent="-177796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Add intro text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DC43ACE-919E-4F14-B57A-476B078BDADC}"/>
              </a:ext>
            </a:extLst>
          </p:cNvPr>
          <p:cNvSpPr>
            <a:spLocks noGrp="1"/>
          </p:cNvSpPr>
          <p:nvPr userDrawn="1"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8C85202-0B59-48F2-8674-991A71F862D0}"/>
              </a:ext>
            </a:extLst>
          </p:cNvPr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C77536-C884-4A81-AE68-002872FF9735}"/>
              </a:ext>
            </a:extLst>
          </p:cNvPr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8124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3" pos="4513">
          <p15:clr>
            <a:srgbClr val="FBAE40"/>
          </p15:clr>
        </p15:guide>
        <p15:guide id="4" pos="2245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1">
    <p:bg>
      <p:bgPr>
        <a:solidFill>
          <a:schemeClr val="accent2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3CBC1972-8065-4A53-B307-68AB4006EBA4}"/>
              </a:ext>
            </a:extLst>
          </p:cNvPr>
          <p:cNvSpPr/>
          <p:nvPr userDrawn="1"/>
        </p:nvSpPr>
        <p:spPr>
          <a:xfrm>
            <a:off x="4604362" y="0"/>
            <a:ext cx="4539638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1380D2C-E53A-487E-B484-96C822075E1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custGeom>
            <a:avLst/>
            <a:gdLst>
              <a:gd name="connsiteX0" fmla="*/ 137498 w 4572000"/>
              <a:gd name="connsiteY0" fmla="*/ 2070213 h 5143500"/>
              <a:gd name="connsiteX1" fmla="*/ 124631 w 4572000"/>
              <a:gd name="connsiteY1" fmla="*/ 2081770 h 5143500"/>
              <a:gd name="connsiteX2" fmla="*/ 124631 w 4572000"/>
              <a:gd name="connsiteY2" fmla="*/ 2081817 h 5143500"/>
              <a:gd name="connsiteX3" fmla="*/ 137158 w 4572000"/>
              <a:gd name="connsiteY3" fmla="*/ 2093986 h 5143500"/>
              <a:gd name="connsiteX4" fmla="*/ 149674 w 4572000"/>
              <a:gd name="connsiteY4" fmla="*/ 2082425 h 5143500"/>
              <a:gd name="connsiteX5" fmla="*/ 137498 w 4572000"/>
              <a:gd name="connsiteY5" fmla="*/ 2070213 h 5143500"/>
              <a:gd name="connsiteX6" fmla="*/ 137789 w 4572000"/>
              <a:gd name="connsiteY6" fmla="*/ 1765449 h 5143500"/>
              <a:gd name="connsiteX7" fmla="*/ 112056 w 4572000"/>
              <a:gd name="connsiteY7" fmla="*/ 1788657 h 5143500"/>
              <a:gd name="connsiteX8" fmla="*/ 112056 w 4572000"/>
              <a:gd name="connsiteY8" fmla="*/ 1788707 h 5143500"/>
              <a:gd name="connsiteX9" fmla="*/ 137157 w 4572000"/>
              <a:gd name="connsiteY9" fmla="*/ 1813090 h 5143500"/>
              <a:gd name="connsiteX10" fmla="*/ 162245 w 4572000"/>
              <a:gd name="connsiteY10" fmla="*/ 1789873 h 5143500"/>
              <a:gd name="connsiteX11" fmla="*/ 137789 w 4572000"/>
              <a:gd name="connsiteY11" fmla="*/ 1765449 h 5143500"/>
              <a:gd name="connsiteX12" fmla="*/ 137498 w 4572000"/>
              <a:gd name="connsiteY12" fmla="*/ 1484172 h 5143500"/>
              <a:gd name="connsiteX13" fmla="*/ 124631 w 4572000"/>
              <a:gd name="connsiteY13" fmla="*/ 1495729 h 5143500"/>
              <a:gd name="connsiteX14" fmla="*/ 124631 w 4572000"/>
              <a:gd name="connsiteY14" fmla="*/ 1495874 h 5143500"/>
              <a:gd name="connsiteX15" fmla="*/ 137157 w 4572000"/>
              <a:gd name="connsiteY15" fmla="*/ 1507945 h 5143500"/>
              <a:gd name="connsiteX16" fmla="*/ 149674 w 4572000"/>
              <a:gd name="connsiteY16" fmla="*/ 1496384 h 5143500"/>
              <a:gd name="connsiteX17" fmla="*/ 137498 w 4572000"/>
              <a:gd name="connsiteY17" fmla="*/ 1484172 h 5143500"/>
              <a:gd name="connsiteX18" fmla="*/ 137498 w 4572000"/>
              <a:gd name="connsiteY18" fmla="*/ 1191246 h 5143500"/>
              <a:gd name="connsiteX19" fmla="*/ 124631 w 4572000"/>
              <a:gd name="connsiteY19" fmla="*/ 1202803 h 5143500"/>
              <a:gd name="connsiteX20" fmla="*/ 124631 w 4572000"/>
              <a:gd name="connsiteY20" fmla="*/ 1202948 h 5143500"/>
              <a:gd name="connsiteX21" fmla="*/ 137157 w 4572000"/>
              <a:gd name="connsiteY21" fmla="*/ 1215019 h 5143500"/>
              <a:gd name="connsiteX22" fmla="*/ 149674 w 4572000"/>
              <a:gd name="connsiteY22" fmla="*/ 1203458 h 5143500"/>
              <a:gd name="connsiteX23" fmla="*/ 137498 w 4572000"/>
              <a:gd name="connsiteY23" fmla="*/ 1191246 h 5143500"/>
              <a:gd name="connsiteX24" fmla="*/ 137449 w 4572000"/>
              <a:gd name="connsiteY24" fmla="*/ 898320 h 5143500"/>
              <a:gd name="connsiteX25" fmla="*/ 124631 w 4572000"/>
              <a:gd name="connsiteY25" fmla="*/ 909924 h 5143500"/>
              <a:gd name="connsiteX26" fmla="*/ 137158 w 4572000"/>
              <a:gd name="connsiteY26" fmla="*/ 922093 h 5143500"/>
              <a:gd name="connsiteX27" fmla="*/ 149679 w 4572000"/>
              <a:gd name="connsiteY27" fmla="*/ 910486 h 5143500"/>
              <a:gd name="connsiteX28" fmla="*/ 137449 w 4572000"/>
              <a:gd name="connsiteY28" fmla="*/ 898320 h 5143500"/>
              <a:gd name="connsiteX29" fmla="*/ 137744 w 4572000"/>
              <a:gd name="connsiteY29" fmla="*/ 593738 h 5143500"/>
              <a:gd name="connsiteX30" fmla="*/ 112056 w 4572000"/>
              <a:gd name="connsiteY30" fmla="*/ 616998 h 5143500"/>
              <a:gd name="connsiteX31" fmla="*/ 137158 w 4572000"/>
              <a:gd name="connsiteY31" fmla="*/ 641384 h 5143500"/>
              <a:gd name="connsiteX32" fmla="*/ 162244 w 4572000"/>
              <a:gd name="connsiteY32" fmla="*/ 618121 h 5143500"/>
              <a:gd name="connsiteX33" fmla="*/ 137744 w 4572000"/>
              <a:gd name="connsiteY33" fmla="*/ 593738 h 5143500"/>
              <a:gd name="connsiteX34" fmla="*/ 137449 w 4572000"/>
              <a:gd name="connsiteY34" fmla="*/ 312467 h 5143500"/>
              <a:gd name="connsiteX35" fmla="*/ 124631 w 4572000"/>
              <a:gd name="connsiteY35" fmla="*/ 324071 h 5143500"/>
              <a:gd name="connsiteX36" fmla="*/ 137158 w 4572000"/>
              <a:gd name="connsiteY36" fmla="*/ 336240 h 5143500"/>
              <a:gd name="connsiteX37" fmla="*/ 149679 w 4572000"/>
              <a:gd name="connsiteY37" fmla="*/ 324633 h 5143500"/>
              <a:gd name="connsiteX38" fmla="*/ 137449 w 4572000"/>
              <a:gd name="connsiteY38" fmla="*/ 312467 h 5143500"/>
              <a:gd name="connsiteX39" fmla="*/ 0 w 4572000"/>
              <a:gd name="connsiteY39" fmla="*/ 0 h 5143500"/>
              <a:gd name="connsiteX40" fmla="*/ 4572000 w 4572000"/>
              <a:gd name="connsiteY40" fmla="*/ 0 h 5143500"/>
              <a:gd name="connsiteX41" fmla="*/ 4572000 w 4572000"/>
              <a:gd name="connsiteY41" fmla="*/ 5143500 h 5143500"/>
              <a:gd name="connsiteX42" fmla="*/ 0 w 4572000"/>
              <a:gd name="connsiteY4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4572000" h="5143500">
                <a:moveTo>
                  <a:pt x="137498" y="2070213"/>
                </a:moveTo>
                <a:cubicBezTo>
                  <a:pt x="130585" y="2070030"/>
                  <a:pt x="124824" y="2075207"/>
                  <a:pt x="124631" y="2081770"/>
                </a:cubicBezTo>
                <a:cubicBezTo>
                  <a:pt x="124631" y="2081784"/>
                  <a:pt x="124631" y="2081802"/>
                  <a:pt x="124631" y="2081817"/>
                </a:cubicBezTo>
                <a:cubicBezTo>
                  <a:pt x="124547" y="2088463"/>
                  <a:pt x="130161" y="2093912"/>
                  <a:pt x="137158" y="2093986"/>
                </a:cubicBezTo>
                <a:cubicBezTo>
                  <a:pt x="143939" y="2093982"/>
                  <a:pt x="149486" y="2088862"/>
                  <a:pt x="149674" y="2082425"/>
                </a:cubicBezTo>
                <a:cubicBezTo>
                  <a:pt x="149866" y="2075863"/>
                  <a:pt x="144413" y="2070395"/>
                  <a:pt x="137498" y="2070213"/>
                </a:cubicBezTo>
                <a:close/>
                <a:moveTo>
                  <a:pt x="137789" y="1765449"/>
                </a:moveTo>
                <a:cubicBezTo>
                  <a:pt x="123931" y="1765111"/>
                  <a:pt x="112411" y="1775503"/>
                  <a:pt x="112056" y="1788657"/>
                </a:cubicBezTo>
                <a:cubicBezTo>
                  <a:pt x="112056" y="1788675"/>
                  <a:pt x="112056" y="1788689"/>
                  <a:pt x="112056" y="1788707"/>
                </a:cubicBezTo>
                <a:cubicBezTo>
                  <a:pt x="111893" y="1802020"/>
                  <a:pt x="123132" y="1812936"/>
                  <a:pt x="137157" y="1813090"/>
                </a:cubicBezTo>
                <a:cubicBezTo>
                  <a:pt x="150769" y="1813086"/>
                  <a:pt x="161893" y="1802788"/>
                  <a:pt x="162245" y="1789873"/>
                </a:cubicBezTo>
                <a:cubicBezTo>
                  <a:pt x="162595" y="1776720"/>
                  <a:pt x="151651" y="1765781"/>
                  <a:pt x="137789" y="1765449"/>
                </a:cubicBezTo>
                <a:close/>
                <a:moveTo>
                  <a:pt x="137498" y="1484172"/>
                </a:moveTo>
                <a:cubicBezTo>
                  <a:pt x="130584" y="1483989"/>
                  <a:pt x="124823" y="1489166"/>
                  <a:pt x="124631" y="1495729"/>
                </a:cubicBezTo>
                <a:cubicBezTo>
                  <a:pt x="124631" y="1495776"/>
                  <a:pt x="124631" y="1495823"/>
                  <a:pt x="124631" y="1495874"/>
                </a:cubicBezTo>
                <a:cubicBezTo>
                  <a:pt x="124577" y="1502488"/>
                  <a:pt x="130184" y="1507895"/>
                  <a:pt x="137157" y="1507945"/>
                </a:cubicBezTo>
                <a:cubicBezTo>
                  <a:pt x="143938" y="1507941"/>
                  <a:pt x="149486" y="1502821"/>
                  <a:pt x="149674" y="1496384"/>
                </a:cubicBezTo>
                <a:cubicBezTo>
                  <a:pt x="149866" y="1489822"/>
                  <a:pt x="144412" y="1484354"/>
                  <a:pt x="137498" y="1484172"/>
                </a:cubicBezTo>
                <a:close/>
                <a:moveTo>
                  <a:pt x="137498" y="1191246"/>
                </a:moveTo>
                <a:cubicBezTo>
                  <a:pt x="130584" y="1191064"/>
                  <a:pt x="124823" y="1196240"/>
                  <a:pt x="124631" y="1202803"/>
                </a:cubicBezTo>
                <a:cubicBezTo>
                  <a:pt x="124631" y="1202850"/>
                  <a:pt x="124631" y="1202897"/>
                  <a:pt x="124631" y="1202948"/>
                </a:cubicBezTo>
                <a:cubicBezTo>
                  <a:pt x="124577" y="1209562"/>
                  <a:pt x="130184" y="1214969"/>
                  <a:pt x="137157" y="1215019"/>
                </a:cubicBezTo>
                <a:cubicBezTo>
                  <a:pt x="143938" y="1215015"/>
                  <a:pt x="149486" y="1209895"/>
                  <a:pt x="149674" y="1203458"/>
                </a:cubicBezTo>
                <a:cubicBezTo>
                  <a:pt x="149866" y="1196896"/>
                  <a:pt x="144412" y="1191428"/>
                  <a:pt x="137498" y="1191246"/>
                </a:cubicBezTo>
                <a:close/>
                <a:moveTo>
                  <a:pt x="137449" y="898320"/>
                </a:moveTo>
                <a:cubicBezTo>
                  <a:pt x="130535" y="898165"/>
                  <a:pt x="124795" y="903361"/>
                  <a:pt x="124631" y="909924"/>
                </a:cubicBezTo>
                <a:cubicBezTo>
                  <a:pt x="124552" y="916570"/>
                  <a:pt x="130161" y="922019"/>
                  <a:pt x="137158" y="922093"/>
                </a:cubicBezTo>
                <a:cubicBezTo>
                  <a:pt x="143959" y="922093"/>
                  <a:pt x="149516" y="916941"/>
                  <a:pt x="149679" y="910486"/>
                </a:cubicBezTo>
                <a:cubicBezTo>
                  <a:pt x="149841" y="903923"/>
                  <a:pt x="144367" y="898474"/>
                  <a:pt x="137449" y="898320"/>
                </a:cubicBezTo>
                <a:close/>
                <a:moveTo>
                  <a:pt x="137744" y="593738"/>
                </a:moveTo>
                <a:cubicBezTo>
                  <a:pt x="123881" y="593429"/>
                  <a:pt x="112381" y="603844"/>
                  <a:pt x="112056" y="616998"/>
                </a:cubicBezTo>
                <a:cubicBezTo>
                  <a:pt x="111918" y="630301"/>
                  <a:pt x="123142" y="641207"/>
                  <a:pt x="137158" y="641384"/>
                </a:cubicBezTo>
                <a:cubicBezTo>
                  <a:pt x="150789" y="641381"/>
                  <a:pt x="161924" y="631054"/>
                  <a:pt x="162244" y="618121"/>
                </a:cubicBezTo>
                <a:cubicBezTo>
                  <a:pt x="162570" y="604968"/>
                  <a:pt x="151602" y="594052"/>
                  <a:pt x="137744" y="593738"/>
                </a:cubicBezTo>
                <a:close/>
                <a:moveTo>
                  <a:pt x="137449" y="312467"/>
                </a:moveTo>
                <a:cubicBezTo>
                  <a:pt x="130535" y="312312"/>
                  <a:pt x="124795" y="317508"/>
                  <a:pt x="124631" y="324071"/>
                </a:cubicBezTo>
                <a:cubicBezTo>
                  <a:pt x="124552" y="330717"/>
                  <a:pt x="130161" y="336166"/>
                  <a:pt x="137158" y="336240"/>
                </a:cubicBezTo>
                <a:cubicBezTo>
                  <a:pt x="143959" y="336240"/>
                  <a:pt x="149516" y="331088"/>
                  <a:pt x="149679" y="324633"/>
                </a:cubicBezTo>
                <a:cubicBezTo>
                  <a:pt x="149841" y="318071"/>
                  <a:pt x="144367" y="312621"/>
                  <a:pt x="137449" y="312467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37" name="Dots">
            <a:extLst>
              <a:ext uri="{FF2B5EF4-FFF2-40B4-BE49-F238E27FC236}">
                <a16:creationId xmlns:a16="http://schemas.microsoft.com/office/drawing/2014/main" id="{EE9EFEE1-081D-43C2-B79D-9A03DAD019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2916304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tx2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E1AED2E5-EACC-4379-8B86-BDCC33C41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71126" y="4482250"/>
            <a:ext cx="1535077" cy="256610"/>
            <a:chOff x="301852" y="4913727"/>
            <a:chExt cx="487916" cy="81562"/>
          </a:xfrm>
          <a:solidFill>
            <a:schemeClr val="accent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2" y="231777"/>
            <a:ext cx="2824965" cy="2583344"/>
          </a:xfrm>
        </p:spPr>
        <p:txBody>
          <a:bodyPr anchor="b"/>
          <a:lstStyle>
            <a:lvl1pPr algn="l"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Add text for example Thank you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2B055659-967E-4FB4-B761-219916CE0D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2" y="3890837"/>
            <a:ext cx="2705129" cy="365125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808080"/>
                </a:solidFill>
              </a:defRPr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GB"/>
              <a:t>Click to add date and/or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3722548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1629A0C0-C4FA-4BD5-B2B6-6748A116A518}"/>
              </a:ext>
            </a:extLst>
          </p:cNvPr>
          <p:cNvSpPr/>
          <p:nvPr userDrawn="1"/>
        </p:nvSpPr>
        <p:spPr>
          <a:xfrm>
            <a:off x="4604362" y="0"/>
            <a:ext cx="4539638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1380D2C-E53A-487E-B484-96C822075E1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custGeom>
            <a:avLst/>
            <a:gdLst>
              <a:gd name="connsiteX0" fmla="*/ 137498 w 4572000"/>
              <a:gd name="connsiteY0" fmla="*/ 2070213 h 5143500"/>
              <a:gd name="connsiteX1" fmla="*/ 124631 w 4572000"/>
              <a:gd name="connsiteY1" fmla="*/ 2081770 h 5143500"/>
              <a:gd name="connsiteX2" fmla="*/ 124631 w 4572000"/>
              <a:gd name="connsiteY2" fmla="*/ 2081817 h 5143500"/>
              <a:gd name="connsiteX3" fmla="*/ 137158 w 4572000"/>
              <a:gd name="connsiteY3" fmla="*/ 2093986 h 5143500"/>
              <a:gd name="connsiteX4" fmla="*/ 149674 w 4572000"/>
              <a:gd name="connsiteY4" fmla="*/ 2082425 h 5143500"/>
              <a:gd name="connsiteX5" fmla="*/ 137498 w 4572000"/>
              <a:gd name="connsiteY5" fmla="*/ 2070213 h 5143500"/>
              <a:gd name="connsiteX6" fmla="*/ 137789 w 4572000"/>
              <a:gd name="connsiteY6" fmla="*/ 1765449 h 5143500"/>
              <a:gd name="connsiteX7" fmla="*/ 112056 w 4572000"/>
              <a:gd name="connsiteY7" fmla="*/ 1788657 h 5143500"/>
              <a:gd name="connsiteX8" fmla="*/ 112056 w 4572000"/>
              <a:gd name="connsiteY8" fmla="*/ 1788707 h 5143500"/>
              <a:gd name="connsiteX9" fmla="*/ 137157 w 4572000"/>
              <a:gd name="connsiteY9" fmla="*/ 1813090 h 5143500"/>
              <a:gd name="connsiteX10" fmla="*/ 162245 w 4572000"/>
              <a:gd name="connsiteY10" fmla="*/ 1789873 h 5143500"/>
              <a:gd name="connsiteX11" fmla="*/ 137789 w 4572000"/>
              <a:gd name="connsiteY11" fmla="*/ 1765449 h 5143500"/>
              <a:gd name="connsiteX12" fmla="*/ 137498 w 4572000"/>
              <a:gd name="connsiteY12" fmla="*/ 1484172 h 5143500"/>
              <a:gd name="connsiteX13" fmla="*/ 124631 w 4572000"/>
              <a:gd name="connsiteY13" fmla="*/ 1495729 h 5143500"/>
              <a:gd name="connsiteX14" fmla="*/ 124631 w 4572000"/>
              <a:gd name="connsiteY14" fmla="*/ 1495874 h 5143500"/>
              <a:gd name="connsiteX15" fmla="*/ 137157 w 4572000"/>
              <a:gd name="connsiteY15" fmla="*/ 1507945 h 5143500"/>
              <a:gd name="connsiteX16" fmla="*/ 149674 w 4572000"/>
              <a:gd name="connsiteY16" fmla="*/ 1496384 h 5143500"/>
              <a:gd name="connsiteX17" fmla="*/ 137498 w 4572000"/>
              <a:gd name="connsiteY17" fmla="*/ 1484172 h 5143500"/>
              <a:gd name="connsiteX18" fmla="*/ 137498 w 4572000"/>
              <a:gd name="connsiteY18" fmla="*/ 1191246 h 5143500"/>
              <a:gd name="connsiteX19" fmla="*/ 124631 w 4572000"/>
              <a:gd name="connsiteY19" fmla="*/ 1202803 h 5143500"/>
              <a:gd name="connsiteX20" fmla="*/ 124631 w 4572000"/>
              <a:gd name="connsiteY20" fmla="*/ 1202948 h 5143500"/>
              <a:gd name="connsiteX21" fmla="*/ 137157 w 4572000"/>
              <a:gd name="connsiteY21" fmla="*/ 1215019 h 5143500"/>
              <a:gd name="connsiteX22" fmla="*/ 149674 w 4572000"/>
              <a:gd name="connsiteY22" fmla="*/ 1203458 h 5143500"/>
              <a:gd name="connsiteX23" fmla="*/ 137498 w 4572000"/>
              <a:gd name="connsiteY23" fmla="*/ 1191246 h 5143500"/>
              <a:gd name="connsiteX24" fmla="*/ 137449 w 4572000"/>
              <a:gd name="connsiteY24" fmla="*/ 898320 h 5143500"/>
              <a:gd name="connsiteX25" fmla="*/ 124631 w 4572000"/>
              <a:gd name="connsiteY25" fmla="*/ 909924 h 5143500"/>
              <a:gd name="connsiteX26" fmla="*/ 137158 w 4572000"/>
              <a:gd name="connsiteY26" fmla="*/ 922093 h 5143500"/>
              <a:gd name="connsiteX27" fmla="*/ 149679 w 4572000"/>
              <a:gd name="connsiteY27" fmla="*/ 910486 h 5143500"/>
              <a:gd name="connsiteX28" fmla="*/ 137449 w 4572000"/>
              <a:gd name="connsiteY28" fmla="*/ 898320 h 5143500"/>
              <a:gd name="connsiteX29" fmla="*/ 137744 w 4572000"/>
              <a:gd name="connsiteY29" fmla="*/ 593738 h 5143500"/>
              <a:gd name="connsiteX30" fmla="*/ 112056 w 4572000"/>
              <a:gd name="connsiteY30" fmla="*/ 616998 h 5143500"/>
              <a:gd name="connsiteX31" fmla="*/ 137158 w 4572000"/>
              <a:gd name="connsiteY31" fmla="*/ 641384 h 5143500"/>
              <a:gd name="connsiteX32" fmla="*/ 162244 w 4572000"/>
              <a:gd name="connsiteY32" fmla="*/ 618121 h 5143500"/>
              <a:gd name="connsiteX33" fmla="*/ 137744 w 4572000"/>
              <a:gd name="connsiteY33" fmla="*/ 593738 h 5143500"/>
              <a:gd name="connsiteX34" fmla="*/ 137449 w 4572000"/>
              <a:gd name="connsiteY34" fmla="*/ 312467 h 5143500"/>
              <a:gd name="connsiteX35" fmla="*/ 124631 w 4572000"/>
              <a:gd name="connsiteY35" fmla="*/ 324071 h 5143500"/>
              <a:gd name="connsiteX36" fmla="*/ 137158 w 4572000"/>
              <a:gd name="connsiteY36" fmla="*/ 336240 h 5143500"/>
              <a:gd name="connsiteX37" fmla="*/ 149679 w 4572000"/>
              <a:gd name="connsiteY37" fmla="*/ 324633 h 5143500"/>
              <a:gd name="connsiteX38" fmla="*/ 137449 w 4572000"/>
              <a:gd name="connsiteY38" fmla="*/ 312467 h 5143500"/>
              <a:gd name="connsiteX39" fmla="*/ 0 w 4572000"/>
              <a:gd name="connsiteY39" fmla="*/ 0 h 5143500"/>
              <a:gd name="connsiteX40" fmla="*/ 4572000 w 4572000"/>
              <a:gd name="connsiteY40" fmla="*/ 0 h 5143500"/>
              <a:gd name="connsiteX41" fmla="*/ 4572000 w 4572000"/>
              <a:gd name="connsiteY41" fmla="*/ 5143500 h 5143500"/>
              <a:gd name="connsiteX42" fmla="*/ 0 w 4572000"/>
              <a:gd name="connsiteY4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4572000" h="5143500">
                <a:moveTo>
                  <a:pt x="137498" y="2070213"/>
                </a:moveTo>
                <a:cubicBezTo>
                  <a:pt x="130585" y="2070030"/>
                  <a:pt x="124824" y="2075207"/>
                  <a:pt x="124631" y="2081770"/>
                </a:cubicBezTo>
                <a:cubicBezTo>
                  <a:pt x="124631" y="2081784"/>
                  <a:pt x="124631" y="2081802"/>
                  <a:pt x="124631" y="2081817"/>
                </a:cubicBezTo>
                <a:cubicBezTo>
                  <a:pt x="124547" y="2088463"/>
                  <a:pt x="130161" y="2093912"/>
                  <a:pt x="137158" y="2093986"/>
                </a:cubicBezTo>
                <a:cubicBezTo>
                  <a:pt x="143939" y="2093982"/>
                  <a:pt x="149486" y="2088862"/>
                  <a:pt x="149674" y="2082425"/>
                </a:cubicBezTo>
                <a:cubicBezTo>
                  <a:pt x="149866" y="2075863"/>
                  <a:pt x="144413" y="2070395"/>
                  <a:pt x="137498" y="2070213"/>
                </a:cubicBezTo>
                <a:close/>
                <a:moveTo>
                  <a:pt x="137789" y="1765449"/>
                </a:moveTo>
                <a:cubicBezTo>
                  <a:pt x="123931" y="1765111"/>
                  <a:pt x="112411" y="1775503"/>
                  <a:pt x="112056" y="1788657"/>
                </a:cubicBezTo>
                <a:cubicBezTo>
                  <a:pt x="112056" y="1788675"/>
                  <a:pt x="112056" y="1788689"/>
                  <a:pt x="112056" y="1788707"/>
                </a:cubicBezTo>
                <a:cubicBezTo>
                  <a:pt x="111893" y="1802020"/>
                  <a:pt x="123132" y="1812936"/>
                  <a:pt x="137157" y="1813090"/>
                </a:cubicBezTo>
                <a:cubicBezTo>
                  <a:pt x="150769" y="1813086"/>
                  <a:pt x="161893" y="1802788"/>
                  <a:pt x="162245" y="1789873"/>
                </a:cubicBezTo>
                <a:cubicBezTo>
                  <a:pt x="162595" y="1776720"/>
                  <a:pt x="151651" y="1765781"/>
                  <a:pt x="137789" y="1765449"/>
                </a:cubicBezTo>
                <a:close/>
                <a:moveTo>
                  <a:pt x="137498" y="1484172"/>
                </a:moveTo>
                <a:cubicBezTo>
                  <a:pt x="130584" y="1483989"/>
                  <a:pt x="124823" y="1489166"/>
                  <a:pt x="124631" y="1495729"/>
                </a:cubicBezTo>
                <a:cubicBezTo>
                  <a:pt x="124631" y="1495776"/>
                  <a:pt x="124631" y="1495823"/>
                  <a:pt x="124631" y="1495874"/>
                </a:cubicBezTo>
                <a:cubicBezTo>
                  <a:pt x="124577" y="1502488"/>
                  <a:pt x="130184" y="1507895"/>
                  <a:pt x="137157" y="1507945"/>
                </a:cubicBezTo>
                <a:cubicBezTo>
                  <a:pt x="143938" y="1507941"/>
                  <a:pt x="149486" y="1502821"/>
                  <a:pt x="149674" y="1496384"/>
                </a:cubicBezTo>
                <a:cubicBezTo>
                  <a:pt x="149866" y="1489822"/>
                  <a:pt x="144412" y="1484354"/>
                  <a:pt x="137498" y="1484172"/>
                </a:cubicBezTo>
                <a:close/>
                <a:moveTo>
                  <a:pt x="137498" y="1191246"/>
                </a:moveTo>
                <a:cubicBezTo>
                  <a:pt x="130584" y="1191064"/>
                  <a:pt x="124823" y="1196240"/>
                  <a:pt x="124631" y="1202803"/>
                </a:cubicBezTo>
                <a:cubicBezTo>
                  <a:pt x="124631" y="1202850"/>
                  <a:pt x="124631" y="1202897"/>
                  <a:pt x="124631" y="1202948"/>
                </a:cubicBezTo>
                <a:cubicBezTo>
                  <a:pt x="124577" y="1209562"/>
                  <a:pt x="130184" y="1214969"/>
                  <a:pt x="137157" y="1215019"/>
                </a:cubicBezTo>
                <a:cubicBezTo>
                  <a:pt x="143938" y="1215015"/>
                  <a:pt x="149486" y="1209895"/>
                  <a:pt x="149674" y="1203458"/>
                </a:cubicBezTo>
                <a:cubicBezTo>
                  <a:pt x="149866" y="1196896"/>
                  <a:pt x="144412" y="1191428"/>
                  <a:pt x="137498" y="1191246"/>
                </a:cubicBezTo>
                <a:close/>
                <a:moveTo>
                  <a:pt x="137449" y="898320"/>
                </a:moveTo>
                <a:cubicBezTo>
                  <a:pt x="130535" y="898165"/>
                  <a:pt x="124795" y="903361"/>
                  <a:pt x="124631" y="909924"/>
                </a:cubicBezTo>
                <a:cubicBezTo>
                  <a:pt x="124552" y="916570"/>
                  <a:pt x="130161" y="922019"/>
                  <a:pt x="137158" y="922093"/>
                </a:cubicBezTo>
                <a:cubicBezTo>
                  <a:pt x="143959" y="922093"/>
                  <a:pt x="149516" y="916941"/>
                  <a:pt x="149679" y="910486"/>
                </a:cubicBezTo>
                <a:cubicBezTo>
                  <a:pt x="149841" y="903923"/>
                  <a:pt x="144367" y="898474"/>
                  <a:pt x="137449" y="898320"/>
                </a:cubicBezTo>
                <a:close/>
                <a:moveTo>
                  <a:pt x="137744" y="593738"/>
                </a:moveTo>
                <a:cubicBezTo>
                  <a:pt x="123881" y="593429"/>
                  <a:pt x="112381" y="603844"/>
                  <a:pt x="112056" y="616998"/>
                </a:cubicBezTo>
                <a:cubicBezTo>
                  <a:pt x="111918" y="630301"/>
                  <a:pt x="123142" y="641207"/>
                  <a:pt x="137158" y="641384"/>
                </a:cubicBezTo>
                <a:cubicBezTo>
                  <a:pt x="150789" y="641381"/>
                  <a:pt x="161924" y="631054"/>
                  <a:pt x="162244" y="618121"/>
                </a:cubicBezTo>
                <a:cubicBezTo>
                  <a:pt x="162570" y="604968"/>
                  <a:pt x="151602" y="594052"/>
                  <a:pt x="137744" y="593738"/>
                </a:cubicBezTo>
                <a:close/>
                <a:moveTo>
                  <a:pt x="137449" y="312467"/>
                </a:moveTo>
                <a:cubicBezTo>
                  <a:pt x="130535" y="312312"/>
                  <a:pt x="124795" y="317508"/>
                  <a:pt x="124631" y="324071"/>
                </a:cubicBezTo>
                <a:cubicBezTo>
                  <a:pt x="124552" y="330717"/>
                  <a:pt x="130161" y="336166"/>
                  <a:pt x="137158" y="336240"/>
                </a:cubicBezTo>
                <a:cubicBezTo>
                  <a:pt x="143959" y="336240"/>
                  <a:pt x="149516" y="331088"/>
                  <a:pt x="149679" y="324633"/>
                </a:cubicBezTo>
                <a:cubicBezTo>
                  <a:pt x="149841" y="318071"/>
                  <a:pt x="144367" y="312621"/>
                  <a:pt x="137449" y="312467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37" name="Dots">
            <a:extLst>
              <a:ext uri="{FF2B5EF4-FFF2-40B4-BE49-F238E27FC236}">
                <a16:creationId xmlns:a16="http://schemas.microsoft.com/office/drawing/2014/main" id="{EE9EFEE1-081D-43C2-B79D-9A03DAD019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2916304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tx2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E1AED2E5-EACC-4379-8B86-BDCC33C41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71126" y="4482250"/>
            <a:ext cx="1535077" cy="256610"/>
            <a:chOff x="301852" y="4913727"/>
            <a:chExt cx="487916" cy="81562"/>
          </a:xfrm>
          <a:solidFill>
            <a:schemeClr val="bg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2" y="231777"/>
            <a:ext cx="2824965" cy="2583344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text for example Thank you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2B055659-967E-4FB4-B761-219916CE0D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2" y="3890837"/>
            <a:ext cx="2705129" cy="365125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DEB59F"/>
                </a:solidFill>
              </a:defRPr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GB"/>
              <a:t>Click to add date and/or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2148963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3">
    <p:bg>
      <p:bgPr>
        <a:solidFill>
          <a:schemeClr val="accent2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aphic 19">
            <a:extLst>
              <a:ext uri="{FF2B5EF4-FFF2-40B4-BE49-F238E27FC236}">
                <a16:creationId xmlns:a16="http://schemas.microsoft.com/office/drawing/2014/main" id="{E1AED2E5-EACC-4379-8B86-BDCC33C41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71126" y="4482250"/>
            <a:ext cx="1535077" cy="256610"/>
            <a:chOff x="301852" y="4913727"/>
            <a:chExt cx="487916" cy="81562"/>
          </a:xfrm>
          <a:solidFill>
            <a:schemeClr val="accent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2" y="231777"/>
            <a:ext cx="2824965" cy="2583344"/>
          </a:xfrm>
        </p:spPr>
        <p:txBody>
          <a:bodyPr anchor="b"/>
          <a:lstStyle>
            <a:lvl1pPr algn="l"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Add text for example Thank you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2B055659-967E-4FB4-B761-219916CE0D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2" y="3890837"/>
            <a:ext cx="2705129" cy="365125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808080"/>
                </a:solidFill>
              </a:defRPr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GB"/>
              <a:t>Click to add date and/or presenters name</a:t>
            </a:r>
          </a:p>
        </p:txBody>
      </p:sp>
      <p:sp>
        <p:nvSpPr>
          <p:cNvPr id="35" name="Dots">
            <a:extLst>
              <a:ext uri="{FF2B5EF4-FFF2-40B4-BE49-F238E27FC236}">
                <a16:creationId xmlns:a16="http://schemas.microsoft.com/office/drawing/2014/main" id="{4C816F69-5068-4908-9804-E11DD367E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tx2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816585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aphic 19">
            <a:extLst>
              <a:ext uri="{FF2B5EF4-FFF2-40B4-BE49-F238E27FC236}">
                <a16:creationId xmlns:a16="http://schemas.microsoft.com/office/drawing/2014/main" id="{E1AED2E5-EACC-4379-8B86-BDCC33C41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71126" y="4482250"/>
            <a:ext cx="1535077" cy="256610"/>
            <a:chOff x="301852" y="4913727"/>
            <a:chExt cx="487916" cy="81562"/>
          </a:xfrm>
          <a:solidFill>
            <a:schemeClr val="bg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2" y="231777"/>
            <a:ext cx="2824965" cy="2583344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text for example Thank you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2B055659-967E-4FB4-B761-219916CE0D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2" y="3890837"/>
            <a:ext cx="2705129" cy="365125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DEB59F"/>
                </a:solidFill>
              </a:defRPr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GB"/>
              <a:t>Click to add date and/or presenters name</a:t>
            </a:r>
          </a:p>
        </p:txBody>
      </p:sp>
      <p:sp>
        <p:nvSpPr>
          <p:cNvPr id="35" name="Dots">
            <a:extLst>
              <a:ext uri="{FF2B5EF4-FFF2-40B4-BE49-F238E27FC236}">
                <a16:creationId xmlns:a16="http://schemas.microsoft.com/office/drawing/2014/main" id="{D001CC6F-BFCA-4280-BE24-68BE1C518787}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tx2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701430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ateinam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03FD901-DC8B-4A10-8EEB-0527312799F9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643555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rgbClr val="F7EAE4">
            <a:alpha val="25098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1" y="231776"/>
            <a:ext cx="4104000" cy="2583344"/>
          </a:xfrm>
        </p:spPr>
        <p:txBody>
          <a:bodyPr anchor="b"/>
          <a:lstStyle>
            <a:lvl1pPr algn="l">
              <a:defRPr sz="4400" b="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6261" y="2933271"/>
            <a:ext cx="4104000" cy="1008000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add sub title</a:t>
            </a:r>
          </a:p>
        </p:txBody>
      </p:sp>
      <p:grpSp>
        <p:nvGrpSpPr>
          <p:cNvPr id="11" name="Logo">
            <a:extLst>
              <a:ext uri="{FF2B5EF4-FFF2-40B4-BE49-F238E27FC236}">
                <a16:creationId xmlns:a16="http://schemas.microsoft.com/office/drawing/2014/main" id="{E1AED2E5-EACC-4379-8B86-BDCC33C414F2}"/>
              </a:ext>
            </a:extLst>
          </p:cNvPr>
          <p:cNvGrpSpPr/>
          <p:nvPr userDrawn="1"/>
        </p:nvGrpSpPr>
        <p:grpSpPr>
          <a:xfrm>
            <a:off x="571125" y="4482250"/>
            <a:ext cx="1535077" cy="256610"/>
            <a:chOff x="301852" y="4913727"/>
            <a:chExt cx="487916" cy="81562"/>
          </a:xfrm>
          <a:solidFill>
            <a:schemeClr val="tx2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9A30684-A5A5-4C39-B1C5-51CC46FDC0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958761"/>
            <a:ext cx="4104000" cy="36512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655B54"/>
                </a:solidFill>
              </a:defRPr>
            </a:lvl1pPr>
            <a:lvl2pPr marL="179388" indent="0">
              <a:buNone/>
              <a:defRPr/>
            </a:lvl2pPr>
            <a:lvl3pPr marL="360362" indent="0">
              <a:buNone/>
              <a:defRPr/>
            </a:lvl3pPr>
            <a:lvl4pPr marL="539750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US"/>
              <a:t>Click to add date and/or presenters name</a:t>
            </a:r>
          </a:p>
        </p:txBody>
      </p:sp>
      <p:sp>
        <p:nvSpPr>
          <p:cNvPr id="73" name="Dots">
            <a:extLst>
              <a:ext uri="{FF2B5EF4-FFF2-40B4-BE49-F238E27FC236}">
                <a16:creationId xmlns:a16="http://schemas.microsoft.com/office/drawing/2014/main" id="{B0423462-8FE2-4022-8D8D-6B7FE496DDA1}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105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Logo">
            <a:extLst>
              <a:ext uri="{FF2B5EF4-FFF2-40B4-BE49-F238E27FC236}">
                <a16:creationId xmlns:a16="http://schemas.microsoft.com/office/drawing/2014/main" id="{E1AED2E5-EACC-4379-8B86-BDCC33C414F2}"/>
              </a:ext>
            </a:extLst>
          </p:cNvPr>
          <p:cNvGrpSpPr/>
          <p:nvPr userDrawn="1"/>
        </p:nvGrpSpPr>
        <p:grpSpPr>
          <a:xfrm>
            <a:off x="571125" y="4482250"/>
            <a:ext cx="1535077" cy="256610"/>
            <a:chOff x="301852" y="4913727"/>
            <a:chExt cx="487916" cy="81562"/>
          </a:xfrm>
          <a:solidFill>
            <a:schemeClr val="bg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C7D6CCA3-D98F-4E8C-B9B8-253423212EE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1" y="231776"/>
            <a:ext cx="4104000" cy="2583344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466A57BE-C742-4942-BC2C-5CCB046B10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1" y="2933271"/>
            <a:ext cx="4104000" cy="1008000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add sub title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D784ED6D-55C4-43AE-897A-8020AD869C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958761"/>
            <a:ext cx="4104000" cy="36512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EACBBB"/>
                </a:solidFill>
              </a:defRPr>
            </a:lvl1pPr>
            <a:lvl2pPr marL="179388" indent="0">
              <a:buNone/>
              <a:defRPr/>
            </a:lvl2pPr>
            <a:lvl3pPr marL="360362" indent="0">
              <a:buNone/>
              <a:defRPr/>
            </a:lvl3pPr>
            <a:lvl4pPr marL="539750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US"/>
              <a:t>Click to add date and/or presenters name</a:t>
            </a:r>
          </a:p>
        </p:txBody>
      </p:sp>
      <p:sp>
        <p:nvSpPr>
          <p:cNvPr id="39" name="Dots">
            <a:extLst>
              <a:ext uri="{FF2B5EF4-FFF2-40B4-BE49-F238E27FC236}">
                <a16:creationId xmlns:a16="http://schemas.microsoft.com/office/drawing/2014/main" id="{7E284916-3830-4B2D-96DE-5DDABBF929B7}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966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aphic 19">
            <a:extLst>
              <a:ext uri="{FF2B5EF4-FFF2-40B4-BE49-F238E27FC236}">
                <a16:creationId xmlns:a16="http://schemas.microsoft.com/office/drawing/2014/main" id="{59D87852-F834-409C-B191-0E3DB7829D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DF0FC44-919D-4D5C-BEDE-797DF9691A1F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2253D34-D437-45DF-84B9-D1CE60A1D188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40F4A8E-A03D-44B8-8474-1E1C3A2C5F7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FE8BD5B-94B5-4CAD-BE37-5FE1AD4E054A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B76B74-3ECE-4814-94B0-D91AF2A16645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3F50BF5-3D0F-4E32-9548-2354410572D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7BE7FA7-6CA4-4917-9C43-7B3C45C3A74D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EF1529-5969-4764-ADDC-55D2BEFAA9E0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82530C-BFF7-4FFE-89DD-F04656417F4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C00ED5B-069D-4629-9913-B89C79468A99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0DE64EC-1D8A-4A18-AA0D-966EA50380E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DD7AA4-96EE-4BE7-9AA6-FA06015C4658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FFBFE74-5BE0-4D88-9236-1490CB17271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920FB49-B53C-4555-9E94-A490506760C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C284678-601C-4037-8C9A-B5312F4A0C7A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C680057-9F14-40E7-A752-ED40510F485F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13A42F-A8E7-44E3-BB4A-7C763B911329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E738A0-7E88-4E9C-B9B3-96C293DE9CE9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EAB8D02-ECE2-4190-8241-1DF731560355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6C8C16D-3A30-4ADF-A1E1-5E5668E7D70F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249819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solidFill>
          <a:schemeClr val="bg1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1B9C4FDA-47FC-4EF4-87B8-F8831D0B6EFD}"/>
              </a:ext>
            </a:extLst>
          </p:cNvPr>
          <p:cNvSpPr/>
          <p:nvPr userDrawn="1"/>
        </p:nvSpPr>
        <p:spPr>
          <a:xfrm>
            <a:off x="5466988" y="0"/>
            <a:ext cx="3677012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9F08C50D-C580-4576-ABA3-0C6EDE50A78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34626" y="0"/>
            <a:ext cx="3711600" cy="5143500"/>
          </a:xfrm>
          <a:custGeom>
            <a:avLst/>
            <a:gdLst>
              <a:gd name="connsiteX0" fmla="*/ 142240 w 3708000"/>
              <a:gd name="connsiteY0" fmla="*/ 2070213 h 5143500"/>
              <a:gd name="connsiteX1" fmla="*/ 129373 w 3708000"/>
              <a:gd name="connsiteY1" fmla="*/ 2081770 h 5143500"/>
              <a:gd name="connsiteX2" fmla="*/ 129373 w 3708000"/>
              <a:gd name="connsiteY2" fmla="*/ 2081817 h 5143500"/>
              <a:gd name="connsiteX3" fmla="*/ 141900 w 3708000"/>
              <a:gd name="connsiteY3" fmla="*/ 2093986 h 5143500"/>
              <a:gd name="connsiteX4" fmla="*/ 154416 w 3708000"/>
              <a:gd name="connsiteY4" fmla="*/ 2082425 h 5143500"/>
              <a:gd name="connsiteX5" fmla="*/ 142240 w 3708000"/>
              <a:gd name="connsiteY5" fmla="*/ 2070213 h 5143500"/>
              <a:gd name="connsiteX6" fmla="*/ 142531 w 3708000"/>
              <a:gd name="connsiteY6" fmla="*/ 1765449 h 5143500"/>
              <a:gd name="connsiteX7" fmla="*/ 116798 w 3708000"/>
              <a:gd name="connsiteY7" fmla="*/ 1788657 h 5143500"/>
              <a:gd name="connsiteX8" fmla="*/ 116798 w 3708000"/>
              <a:gd name="connsiteY8" fmla="*/ 1788707 h 5143500"/>
              <a:gd name="connsiteX9" fmla="*/ 141899 w 3708000"/>
              <a:gd name="connsiteY9" fmla="*/ 1813090 h 5143500"/>
              <a:gd name="connsiteX10" fmla="*/ 166987 w 3708000"/>
              <a:gd name="connsiteY10" fmla="*/ 1789873 h 5143500"/>
              <a:gd name="connsiteX11" fmla="*/ 142531 w 3708000"/>
              <a:gd name="connsiteY11" fmla="*/ 1765449 h 5143500"/>
              <a:gd name="connsiteX12" fmla="*/ 142240 w 3708000"/>
              <a:gd name="connsiteY12" fmla="*/ 1484172 h 5143500"/>
              <a:gd name="connsiteX13" fmla="*/ 129373 w 3708000"/>
              <a:gd name="connsiteY13" fmla="*/ 1495729 h 5143500"/>
              <a:gd name="connsiteX14" fmla="*/ 129373 w 3708000"/>
              <a:gd name="connsiteY14" fmla="*/ 1495874 h 5143500"/>
              <a:gd name="connsiteX15" fmla="*/ 141899 w 3708000"/>
              <a:gd name="connsiteY15" fmla="*/ 1507945 h 5143500"/>
              <a:gd name="connsiteX16" fmla="*/ 154416 w 3708000"/>
              <a:gd name="connsiteY16" fmla="*/ 1496384 h 5143500"/>
              <a:gd name="connsiteX17" fmla="*/ 142240 w 3708000"/>
              <a:gd name="connsiteY17" fmla="*/ 1484172 h 5143500"/>
              <a:gd name="connsiteX18" fmla="*/ 142240 w 3708000"/>
              <a:gd name="connsiteY18" fmla="*/ 1191246 h 5143500"/>
              <a:gd name="connsiteX19" fmla="*/ 129373 w 3708000"/>
              <a:gd name="connsiteY19" fmla="*/ 1202803 h 5143500"/>
              <a:gd name="connsiteX20" fmla="*/ 129373 w 3708000"/>
              <a:gd name="connsiteY20" fmla="*/ 1202948 h 5143500"/>
              <a:gd name="connsiteX21" fmla="*/ 141899 w 3708000"/>
              <a:gd name="connsiteY21" fmla="*/ 1215019 h 5143500"/>
              <a:gd name="connsiteX22" fmla="*/ 154416 w 3708000"/>
              <a:gd name="connsiteY22" fmla="*/ 1203458 h 5143500"/>
              <a:gd name="connsiteX23" fmla="*/ 142240 w 3708000"/>
              <a:gd name="connsiteY23" fmla="*/ 1191246 h 5143500"/>
              <a:gd name="connsiteX24" fmla="*/ 142191 w 3708000"/>
              <a:gd name="connsiteY24" fmla="*/ 898320 h 5143500"/>
              <a:gd name="connsiteX25" fmla="*/ 129373 w 3708000"/>
              <a:gd name="connsiteY25" fmla="*/ 909924 h 5143500"/>
              <a:gd name="connsiteX26" fmla="*/ 141900 w 3708000"/>
              <a:gd name="connsiteY26" fmla="*/ 922093 h 5143500"/>
              <a:gd name="connsiteX27" fmla="*/ 154421 w 3708000"/>
              <a:gd name="connsiteY27" fmla="*/ 910486 h 5143500"/>
              <a:gd name="connsiteX28" fmla="*/ 142191 w 3708000"/>
              <a:gd name="connsiteY28" fmla="*/ 898320 h 5143500"/>
              <a:gd name="connsiteX29" fmla="*/ 142486 w 3708000"/>
              <a:gd name="connsiteY29" fmla="*/ 593738 h 5143500"/>
              <a:gd name="connsiteX30" fmla="*/ 116798 w 3708000"/>
              <a:gd name="connsiteY30" fmla="*/ 616998 h 5143500"/>
              <a:gd name="connsiteX31" fmla="*/ 141900 w 3708000"/>
              <a:gd name="connsiteY31" fmla="*/ 641384 h 5143500"/>
              <a:gd name="connsiteX32" fmla="*/ 166986 w 3708000"/>
              <a:gd name="connsiteY32" fmla="*/ 618121 h 5143500"/>
              <a:gd name="connsiteX33" fmla="*/ 142486 w 3708000"/>
              <a:gd name="connsiteY33" fmla="*/ 593738 h 5143500"/>
              <a:gd name="connsiteX34" fmla="*/ 142191 w 3708000"/>
              <a:gd name="connsiteY34" fmla="*/ 312467 h 5143500"/>
              <a:gd name="connsiteX35" fmla="*/ 129373 w 3708000"/>
              <a:gd name="connsiteY35" fmla="*/ 324071 h 5143500"/>
              <a:gd name="connsiteX36" fmla="*/ 141900 w 3708000"/>
              <a:gd name="connsiteY36" fmla="*/ 336240 h 5143500"/>
              <a:gd name="connsiteX37" fmla="*/ 154421 w 3708000"/>
              <a:gd name="connsiteY37" fmla="*/ 324633 h 5143500"/>
              <a:gd name="connsiteX38" fmla="*/ 142191 w 3708000"/>
              <a:gd name="connsiteY38" fmla="*/ 312467 h 5143500"/>
              <a:gd name="connsiteX39" fmla="*/ 0 w 3708000"/>
              <a:gd name="connsiteY39" fmla="*/ 0 h 5143500"/>
              <a:gd name="connsiteX40" fmla="*/ 3708000 w 3708000"/>
              <a:gd name="connsiteY40" fmla="*/ 0 h 5143500"/>
              <a:gd name="connsiteX41" fmla="*/ 3708000 w 3708000"/>
              <a:gd name="connsiteY41" fmla="*/ 5143500 h 5143500"/>
              <a:gd name="connsiteX42" fmla="*/ 0 w 3708000"/>
              <a:gd name="connsiteY4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3708000" h="5143500">
                <a:moveTo>
                  <a:pt x="142240" y="2070213"/>
                </a:moveTo>
                <a:cubicBezTo>
                  <a:pt x="135327" y="2070030"/>
                  <a:pt x="129566" y="2075207"/>
                  <a:pt x="129373" y="2081770"/>
                </a:cubicBezTo>
                <a:cubicBezTo>
                  <a:pt x="129373" y="2081784"/>
                  <a:pt x="129373" y="2081802"/>
                  <a:pt x="129373" y="2081817"/>
                </a:cubicBezTo>
                <a:cubicBezTo>
                  <a:pt x="129289" y="2088463"/>
                  <a:pt x="134903" y="2093912"/>
                  <a:pt x="141900" y="2093986"/>
                </a:cubicBezTo>
                <a:cubicBezTo>
                  <a:pt x="148681" y="2093982"/>
                  <a:pt x="154228" y="2088862"/>
                  <a:pt x="154416" y="2082425"/>
                </a:cubicBezTo>
                <a:cubicBezTo>
                  <a:pt x="154608" y="2075863"/>
                  <a:pt x="149155" y="2070395"/>
                  <a:pt x="142240" y="2070213"/>
                </a:cubicBezTo>
                <a:close/>
                <a:moveTo>
                  <a:pt x="142531" y="1765449"/>
                </a:moveTo>
                <a:cubicBezTo>
                  <a:pt x="128673" y="1765111"/>
                  <a:pt x="117153" y="1775503"/>
                  <a:pt x="116798" y="1788657"/>
                </a:cubicBezTo>
                <a:cubicBezTo>
                  <a:pt x="116798" y="1788675"/>
                  <a:pt x="116798" y="1788689"/>
                  <a:pt x="116798" y="1788707"/>
                </a:cubicBezTo>
                <a:cubicBezTo>
                  <a:pt x="116635" y="1802020"/>
                  <a:pt x="127874" y="1812936"/>
                  <a:pt x="141899" y="1813090"/>
                </a:cubicBezTo>
                <a:cubicBezTo>
                  <a:pt x="155511" y="1813086"/>
                  <a:pt x="166635" y="1802788"/>
                  <a:pt x="166987" y="1789873"/>
                </a:cubicBezTo>
                <a:cubicBezTo>
                  <a:pt x="167337" y="1776720"/>
                  <a:pt x="156393" y="1765781"/>
                  <a:pt x="142531" y="1765449"/>
                </a:cubicBezTo>
                <a:close/>
                <a:moveTo>
                  <a:pt x="142240" y="1484172"/>
                </a:moveTo>
                <a:cubicBezTo>
                  <a:pt x="135326" y="1483989"/>
                  <a:pt x="129565" y="1489166"/>
                  <a:pt x="129373" y="1495729"/>
                </a:cubicBezTo>
                <a:cubicBezTo>
                  <a:pt x="129373" y="1495776"/>
                  <a:pt x="129373" y="1495823"/>
                  <a:pt x="129373" y="1495874"/>
                </a:cubicBezTo>
                <a:cubicBezTo>
                  <a:pt x="129319" y="1502488"/>
                  <a:pt x="134926" y="1507895"/>
                  <a:pt x="141899" y="1507945"/>
                </a:cubicBezTo>
                <a:cubicBezTo>
                  <a:pt x="148680" y="1507941"/>
                  <a:pt x="154228" y="1502821"/>
                  <a:pt x="154416" y="1496384"/>
                </a:cubicBezTo>
                <a:cubicBezTo>
                  <a:pt x="154608" y="1489822"/>
                  <a:pt x="149154" y="1484354"/>
                  <a:pt x="142240" y="1484172"/>
                </a:cubicBezTo>
                <a:close/>
                <a:moveTo>
                  <a:pt x="142240" y="1191246"/>
                </a:moveTo>
                <a:cubicBezTo>
                  <a:pt x="135326" y="1191064"/>
                  <a:pt x="129565" y="1196240"/>
                  <a:pt x="129373" y="1202803"/>
                </a:cubicBezTo>
                <a:cubicBezTo>
                  <a:pt x="129373" y="1202850"/>
                  <a:pt x="129373" y="1202897"/>
                  <a:pt x="129373" y="1202948"/>
                </a:cubicBezTo>
                <a:cubicBezTo>
                  <a:pt x="129319" y="1209562"/>
                  <a:pt x="134926" y="1214969"/>
                  <a:pt x="141899" y="1215019"/>
                </a:cubicBezTo>
                <a:cubicBezTo>
                  <a:pt x="148680" y="1215015"/>
                  <a:pt x="154228" y="1209895"/>
                  <a:pt x="154416" y="1203458"/>
                </a:cubicBezTo>
                <a:cubicBezTo>
                  <a:pt x="154608" y="1196896"/>
                  <a:pt x="149154" y="1191428"/>
                  <a:pt x="142240" y="1191246"/>
                </a:cubicBezTo>
                <a:close/>
                <a:moveTo>
                  <a:pt x="142191" y="898320"/>
                </a:moveTo>
                <a:cubicBezTo>
                  <a:pt x="135277" y="898165"/>
                  <a:pt x="129537" y="903361"/>
                  <a:pt x="129373" y="909924"/>
                </a:cubicBezTo>
                <a:cubicBezTo>
                  <a:pt x="129294" y="916570"/>
                  <a:pt x="134903" y="922019"/>
                  <a:pt x="141900" y="922093"/>
                </a:cubicBezTo>
                <a:cubicBezTo>
                  <a:pt x="148701" y="922093"/>
                  <a:pt x="154258" y="916941"/>
                  <a:pt x="154421" y="910486"/>
                </a:cubicBezTo>
                <a:cubicBezTo>
                  <a:pt x="154583" y="903923"/>
                  <a:pt x="149109" y="898474"/>
                  <a:pt x="142191" y="898320"/>
                </a:cubicBezTo>
                <a:close/>
                <a:moveTo>
                  <a:pt x="142486" y="593738"/>
                </a:moveTo>
                <a:cubicBezTo>
                  <a:pt x="128623" y="593429"/>
                  <a:pt x="117123" y="603844"/>
                  <a:pt x="116798" y="616998"/>
                </a:cubicBezTo>
                <a:cubicBezTo>
                  <a:pt x="116660" y="630301"/>
                  <a:pt x="127884" y="641207"/>
                  <a:pt x="141900" y="641384"/>
                </a:cubicBezTo>
                <a:cubicBezTo>
                  <a:pt x="155531" y="641381"/>
                  <a:pt x="166666" y="631054"/>
                  <a:pt x="166986" y="618121"/>
                </a:cubicBezTo>
                <a:cubicBezTo>
                  <a:pt x="167312" y="604968"/>
                  <a:pt x="156344" y="594052"/>
                  <a:pt x="142486" y="593738"/>
                </a:cubicBezTo>
                <a:close/>
                <a:moveTo>
                  <a:pt x="142191" y="312467"/>
                </a:moveTo>
                <a:cubicBezTo>
                  <a:pt x="135277" y="312312"/>
                  <a:pt x="129537" y="317508"/>
                  <a:pt x="129373" y="324071"/>
                </a:cubicBezTo>
                <a:cubicBezTo>
                  <a:pt x="129294" y="330717"/>
                  <a:pt x="134903" y="336166"/>
                  <a:pt x="141900" y="336240"/>
                </a:cubicBezTo>
                <a:cubicBezTo>
                  <a:pt x="148701" y="336240"/>
                  <a:pt x="154258" y="331088"/>
                  <a:pt x="154421" y="324633"/>
                </a:cubicBezTo>
                <a:cubicBezTo>
                  <a:pt x="154583" y="318071"/>
                  <a:pt x="149109" y="312621"/>
                  <a:pt x="142191" y="312467"/>
                </a:cubicBezTo>
                <a:close/>
                <a:moveTo>
                  <a:pt x="0" y="0"/>
                </a:moveTo>
                <a:lnTo>
                  <a:pt x="3708000" y="0"/>
                </a:lnTo>
                <a:lnTo>
                  <a:pt x="3708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8" name="Dots">
            <a:extLst>
              <a:ext uri="{FF2B5EF4-FFF2-40B4-BE49-F238E27FC236}">
                <a16:creationId xmlns:a16="http://schemas.microsoft.com/office/drawing/2014/main" id="{73DE4581-E0EA-4A8F-A722-4EDE83490D89}"/>
              </a:ext>
            </a:extLst>
          </p:cNvPr>
          <p:cNvSpPr/>
          <p:nvPr userDrawn="1"/>
        </p:nvSpPr>
        <p:spPr>
          <a:xfrm rot="16200000">
            <a:off x="3783671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1" y="231776"/>
            <a:ext cx="4104000" cy="2583344"/>
          </a:xfrm>
        </p:spPr>
        <p:txBody>
          <a:bodyPr anchor="b"/>
          <a:lstStyle>
            <a:lvl1pPr algn="l"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6261" y="2933271"/>
            <a:ext cx="4104000" cy="1008000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add sub title</a:t>
            </a:r>
          </a:p>
        </p:txBody>
      </p:sp>
      <p:grpSp>
        <p:nvGrpSpPr>
          <p:cNvPr id="11" name="Logo">
            <a:extLst>
              <a:ext uri="{FF2B5EF4-FFF2-40B4-BE49-F238E27FC236}">
                <a16:creationId xmlns:a16="http://schemas.microsoft.com/office/drawing/2014/main" id="{E1AED2E5-EACC-4379-8B86-BDCC33C414F2}"/>
              </a:ext>
            </a:extLst>
          </p:cNvPr>
          <p:cNvGrpSpPr/>
          <p:nvPr userDrawn="1"/>
        </p:nvGrpSpPr>
        <p:grpSpPr>
          <a:xfrm>
            <a:off x="571125" y="4482250"/>
            <a:ext cx="1535077" cy="256610"/>
            <a:chOff x="301852" y="4913727"/>
            <a:chExt cx="487916" cy="81562"/>
          </a:xfrm>
          <a:solidFill>
            <a:schemeClr val="tx2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9A30684-A5A5-4C39-B1C5-51CC46FDC0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958761"/>
            <a:ext cx="4104000" cy="36512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655B54"/>
                </a:solidFill>
              </a:defRPr>
            </a:lvl1pPr>
            <a:lvl2pPr marL="179388" indent="0">
              <a:buNone/>
              <a:defRPr/>
            </a:lvl2pPr>
            <a:lvl3pPr marL="360362" indent="0">
              <a:buNone/>
              <a:defRPr/>
            </a:lvl3pPr>
            <a:lvl4pPr marL="539750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US"/>
              <a:t>Click to add date and/or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3624493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30CC86D-A9F1-4C7F-8A8B-0E2535F8A86C}"/>
              </a:ext>
            </a:extLst>
          </p:cNvPr>
          <p:cNvSpPr/>
          <p:nvPr userDrawn="1"/>
        </p:nvSpPr>
        <p:spPr>
          <a:xfrm>
            <a:off x="5466988" y="0"/>
            <a:ext cx="3677012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Picture Placeholder 75">
            <a:extLst>
              <a:ext uri="{FF2B5EF4-FFF2-40B4-BE49-F238E27FC236}">
                <a16:creationId xmlns:a16="http://schemas.microsoft.com/office/drawing/2014/main" id="{C0D90AE0-1FCB-4D84-ABAD-75632D77D5F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34626" y="0"/>
            <a:ext cx="3711600" cy="5143500"/>
          </a:xfrm>
          <a:custGeom>
            <a:avLst/>
            <a:gdLst>
              <a:gd name="connsiteX0" fmla="*/ 142240 w 3708000"/>
              <a:gd name="connsiteY0" fmla="*/ 2070213 h 5143500"/>
              <a:gd name="connsiteX1" fmla="*/ 129373 w 3708000"/>
              <a:gd name="connsiteY1" fmla="*/ 2081770 h 5143500"/>
              <a:gd name="connsiteX2" fmla="*/ 129373 w 3708000"/>
              <a:gd name="connsiteY2" fmla="*/ 2081817 h 5143500"/>
              <a:gd name="connsiteX3" fmla="*/ 141900 w 3708000"/>
              <a:gd name="connsiteY3" fmla="*/ 2093986 h 5143500"/>
              <a:gd name="connsiteX4" fmla="*/ 154416 w 3708000"/>
              <a:gd name="connsiteY4" fmla="*/ 2082425 h 5143500"/>
              <a:gd name="connsiteX5" fmla="*/ 142240 w 3708000"/>
              <a:gd name="connsiteY5" fmla="*/ 2070213 h 5143500"/>
              <a:gd name="connsiteX6" fmla="*/ 142531 w 3708000"/>
              <a:gd name="connsiteY6" fmla="*/ 1765449 h 5143500"/>
              <a:gd name="connsiteX7" fmla="*/ 116798 w 3708000"/>
              <a:gd name="connsiteY7" fmla="*/ 1788657 h 5143500"/>
              <a:gd name="connsiteX8" fmla="*/ 116798 w 3708000"/>
              <a:gd name="connsiteY8" fmla="*/ 1788707 h 5143500"/>
              <a:gd name="connsiteX9" fmla="*/ 141899 w 3708000"/>
              <a:gd name="connsiteY9" fmla="*/ 1813090 h 5143500"/>
              <a:gd name="connsiteX10" fmla="*/ 166987 w 3708000"/>
              <a:gd name="connsiteY10" fmla="*/ 1789873 h 5143500"/>
              <a:gd name="connsiteX11" fmla="*/ 142531 w 3708000"/>
              <a:gd name="connsiteY11" fmla="*/ 1765449 h 5143500"/>
              <a:gd name="connsiteX12" fmla="*/ 142240 w 3708000"/>
              <a:gd name="connsiteY12" fmla="*/ 1484172 h 5143500"/>
              <a:gd name="connsiteX13" fmla="*/ 129373 w 3708000"/>
              <a:gd name="connsiteY13" fmla="*/ 1495729 h 5143500"/>
              <a:gd name="connsiteX14" fmla="*/ 129373 w 3708000"/>
              <a:gd name="connsiteY14" fmla="*/ 1495874 h 5143500"/>
              <a:gd name="connsiteX15" fmla="*/ 141899 w 3708000"/>
              <a:gd name="connsiteY15" fmla="*/ 1507945 h 5143500"/>
              <a:gd name="connsiteX16" fmla="*/ 154416 w 3708000"/>
              <a:gd name="connsiteY16" fmla="*/ 1496384 h 5143500"/>
              <a:gd name="connsiteX17" fmla="*/ 142240 w 3708000"/>
              <a:gd name="connsiteY17" fmla="*/ 1484172 h 5143500"/>
              <a:gd name="connsiteX18" fmla="*/ 142240 w 3708000"/>
              <a:gd name="connsiteY18" fmla="*/ 1191246 h 5143500"/>
              <a:gd name="connsiteX19" fmla="*/ 129373 w 3708000"/>
              <a:gd name="connsiteY19" fmla="*/ 1202803 h 5143500"/>
              <a:gd name="connsiteX20" fmla="*/ 129373 w 3708000"/>
              <a:gd name="connsiteY20" fmla="*/ 1202948 h 5143500"/>
              <a:gd name="connsiteX21" fmla="*/ 141899 w 3708000"/>
              <a:gd name="connsiteY21" fmla="*/ 1215019 h 5143500"/>
              <a:gd name="connsiteX22" fmla="*/ 154416 w 3708000"/>
              <a:gd name="connsiteY22" fmla="*/ 1203458 h 5143500"/>
              <a:gd name="connsiteX23" fmla="*/ 142240 w 3708000"/>
              <a:gd name="connsiteY23" fmla="*/ 1191246 h 5143500"/>
              <a:gd name="connsiteX24" fmla="*/ 142191 w 3708000"/>
              <a:gd name="connsiteY24" fmla="*/ 898320 h 5143500"/>
              <a:gd name="connsiteX25" fmla="*/ 129373 w 3708000"/>
              <a:gd name="connsiteY25" fmla="*/ 909924 h 5143500"/>
              <a:gd name="connsiteX26" fmla="*/ 141900 w 3708000"/>
              <a:gd name="connsiteY26" fmla="*/ 922093 h 5143500"/>
              <a:gd name="connsiteX27" fmla="*/ 154421 w 3708000"/>
              <a:gd name="connsiteY27" fmla="*/ 910486 h 5143500"/>
              <a:gd name="connsiteX28" fmla="*/ 142191 w 3708000"/>
              <a:gd name="connsiteY28" fmla="*/ 898320 h 5143500"/>
              <a:gd name="connsiteX29" fmla="*/ 142486 w 3708000"/>
              <a:gd name="connsiteY29" fmla="*/ 593738 h 5143500"/>
              <a:gd name="connsiteX30" fmla="*/ 116798 w 3708000"/>
              <a:gd name="connsiteY30" fmla="*/ 616998 h 5143500"/>
              <a:gd name="connsiteX31" fmla="*/ 141900 w 3708000"/>
              <a:gd name="connsiteY31" fmla="*/ 641384 h 5143500"/>
              <a:gd name="connsiteX32" fmla="*/ 166986 w 3708000"/>
              <a:gd name="connsiteY32" fmla="*/ 618121 h 5143500"/>
              <a:gd name="connsiteX33" fmla="*/ 142486 w 3708000"/>
              <a:gd name="connsiteY33" fmla="*/ 593738 h 5143500"/>
              <a:gd name="connsiteX34" fmla="*/ 142191 w 3708000"/>
              <a:gd name="connsiteY34" fmla="*/ 312467 h 5143500"/>
              <a:gd name="connsiteX35" fmla="*/ 129373 w 3708000"/>
              <a:gd name="connsiteY35" fmla="*/ 324071 h 5143500"/>
              <a:gd name="connsiteX36" fmla="*/ 141900 w 3708000"/>
              <a:gd name="connsiteY36" fmla="*/ 336240 h 5143500"/>
              <a:gd name="connsiteX37" fmla="*/ 154421 w 3708000"/>
              <a:gd name="connsiteY37" fmla="*/ 324633 h 5143500"/>
              <a:gd name="connsiteX38" fmla="*/ 142191 w 3708000"/>
              <a:gd name="connsiteY38" fmla="*/ 312467 h 5143500"/>
              <a:gd name="connsiteX39" fmla="*/ 0 w 3708000"/>
              <a:gd name="connsiteY39" fmla="*/ 0 h 5143500"/>
              <a:gd name="connsiteX40" fmla="*/ 3708000 w 3708000"/>
              <a:gd name="connsiteY40" fmla="*/ 0 h 5143500"/>
              <a:gd name="connsiteX41" fmla="*/ 3708000 w 3708000"/>
              <a:gd name="connsiteY41" fmla="*/ 5143500 h 5143500"/>
              <a:gd name="connsiteX42" fmla="*/ 0 w 3708000"/>
              <a:gd name="connsiteY4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3708000" h="5143500">
                <a:moveTo>
                  <a:pt x="142240" y="2070213"/>
                </a:moveTo>
                <a:cubicBezTo>
                  <a:pt x="135327" y="2070030"/>
                  <a:pt x="129566" y="2075207"/>
                  <a:pt x="129373" y="2081770"/>
                </a:cubicBezTo>
                <a:cubicBezTo>
                  <a:pt x="129373" y="2081784"/>
                  <a:pt x="129373" y="2081802"/>
                  <a:pt x="129373" y="2081817"/>
                </a:cubicBezTo>
                <a:cubicBezTo>
                  <a:pt x="129289" y="2088463"/>
                  <a:pt x="134903" y="2093912"/>
                  <a:pt x="141900" y="2093986"/>
                </a:cubicBezTo>
                <a:cubicBezTo>
                  <a:pt x="148681" y="2093982"/>
                  <a:pt x="154228" y="2088862"/>
                  <a:pt x="154416" y="2082425"/>
                </a:cubicBezTo>
                <a:cubicBezTo>
                  <a:pt x="154608" y="2075863"/>
                  <a:pt x="149155" y="2070395"/>
                  <a:pt x="142240" y="2070213"/>
                </a:cubicBezTo>
                <a:close/>
                <a:moveTo>
                  <a:pt x="142531" y="1765449"/>
                </a:moveTo>
                <a:cubicBezTo>
                  <a:pt x="128673" y="1765111"/>
                  <a:pt x="117153" y="1775503"/>
                  <a:pt x="116798" y="1788657"/>
                </a:cubicBezTo>
                <a:cubicBezTo>
                  <a:pt x="116798" y="1788675"/>
                  <a:pt x="116798" y="1788689"/>
                  <a:pt x="116798" y="1788707"/>
                </a:cubicBezTo>
                <a:cubicBezTo>
                  <a:pt x="116635" y="1802020"/>
                  <a:pt x="127874" y="1812936"/>
                  <a:pt x="141899" y="1813090"/>
                </a:cubicBezTo>
                <a:cubicBezTo>
                  <a:pt x="155511" y="1813086"/>
                  <a:pt x="166635" y="1802788"/>
                  <a:pt x="166987" y="1789873"/>
                </a:cubicBezTo>
                <a:cubicBezTo>
                  <a:pt x="167337" y="1776720"/>
                  <a:pt x="156393" y="1765781"/>
                  <a:pt x="142531" y="1765449"/>
                </a:cubicBezTo>
                <a:close/>
                <a:moveTo>
                  <a:pt x="142240" y="1484172"/>
                </a:moveTo>
                <a:cubicBezTo>
                  <a:pt x="135326" y="1483989"/>
                  <a:pt x="129565" y="1489166"/>
                  <a:pt x="129373" y="1495729"/>
                </a:cubicBezTo>
                <a:cubicBezTo>
                  <a:pt x="129373" y="1495776"/>
                  <a:pt x="129373" y="1495823"/>
                  <a:pt x="129373" y="1495874"/>
                </a:cubicBezTo>
                <a:cubicBezTo>
                  <a:pt x="129319" y="1502488"/>
                  <a:pt x="134926" y="1507895"/>
                  <a:pt x="141899" y="1507945"/>
                </a:cubicBezTo>
                <a:cubicBezTo>
                  <a:pt x="148680" y="1507941"/>
                  <a:pt x="154228" y="1502821"/>
                  <a:pt x="154416" y="1496384"/>
                </a:cubicBezTo>
                <a:cubicBezTo>
                  <a:pt x="154608" y="1489822"/>
                  <a:pt x="149154" y="1484354"/>
                  <a:pt x="142240" y="1484172"/>
                </a:cubicBezTo>
                <a:close/>
                <a:moveTo>
                  <a:pt x="142240" y="1191246"/>
                </a:moveTo>
                <a:cubicBezTo>
                  <a:pt x="135326" y="1191064"/>
                  <a:pt x="129565" y="1196240"/>
                  <a:pt x="129373" y="1202803"/>
                </a:cubicBezTo>
                <a:cubicBezTo>
                  <a:pt x="129373" y="1202850"/>
                  <a:pt x="129373" y="1202897"/>
                  <a:pt x="129373" y="1202948"/>
                </a:cubicBezTo>
                <a:cubicBezTo>
                  <a:pt x="129319" y="1209562"/>
                  <a:pt x="134926" y="1214969"/>
                  <a:pt x="141899" y="1215019"/>
                </a:cubicBezTo>
                <a:cubicBezTo>
                  <a:pt x="148680" y="1215015"/>
                  <a:pt x="154228" y="1209895"/>
                  <a:pt x="154416" y="1203458"/>
                </a:cubicBezTo>
                <a:cubicBezTo>
                  <a:pt x="154608" y="1196896"/>
                  <a:pt x="149154" y="1191428"/>
                  <a:pt x="142240" y="1191246"/>
                </a:cubicBezTo>
                <a:close/>
                <a:moveTo>
                  <a:pt x="142191" y="898320"/>
                </a:moveTo>
                <a:cubicBezTo>
                  <a:pt x="135277" y="898165"/>
                  <a:pt x="129537" y="903361"/>
                  <a:pt x="129373" y="909924"/>
                </a:cubicBezTo>
                <a:cubicBezTo>
                  <a:pt x="129294" y="916570"/>
                  <a:pt x="134903" y="922019"/>
                  <a:pt x="141900" y="922093"/>
                </a:cubicBezTo>
                <a:cubicBezTo>
                  <a:pt x="148701" y="922093"/>
                  <a:pt x="154258" y="916941"/>
                  <a:pt x="154421" y="910486"/>
                </a:cubicBezTo>
                <a:cubicBezTo>
                  <a:pt x="154583" y="903923"/>
                  <a:pt x="149109" y="898474"/>
                  <a:pt x="142191" y="898320"/>
                </a:cubicBezTo>
                <a:close/>
                <a:moveTo>
                  <a:pt x="142486" y="593738"/>
                </a:moveTo>
                <a:cubicBezTo>
                  <a:pt x="128623" y="593429"/>
                  <a:pt x="117123" y="603844"/>
                  <a:pt x="116798" y="616998"/>
                </a:cubicBezTo>
                <a:cubicBezTo>
                  <a:pt x="116660" y="630301"/>
                  <a:pt x="127884" y="641207"/>
                  <a:pt x="141900" y="641384"/>
                </a:cubicBezTo>
                <a:cubicBezTo>
                  <a:pt x="155531" y="641381"/>
                  <a:pt x="166666" y="631054"/>
                  <a:pt x="166986" y="618121"/>
                </a:cubicBezTo>
                <a:cubicBezTo>
                  <a:pt x="167312" y="604968"/>
                  <a:pt x="156344" y="594052"/>
                  <a:pt x="142486" y="593738"/>
                </a:cubicBezTo>
                <a:close/>
                <a:moveTo>
                  <a:pt x="142191" y="312467"/>
                </a:moveTo>
                <a:cubicBezTo>
                  <a:pt x="135277" y="312312"/>
                  <a:pt x="129537" y="317508"/>
                  <a:pt x="129373" y="324071"/>
                </a:cubicBezTo>
                <a:cubicBezTo>
                  <a:pt x="129294" y="330717"/>
                  <a:pt x="134903" y="336166"/>
                  <a:pt x="141900" y="336240"/>
                </a:cubicBezTo>
                <a:cubicBezTo>
                  <a:pt x="148701" y="336240"/>
                  <a:pt x="154258" y="331088"/>
                  <a:pt x="154421" y="324633"/>
                </a:cubicBezTo>
                <a:cubicBezTo>
                  <a:pt x="154583" y="318071"/>
                  <a:pt x="149109" y="312621"/>
                  <a:pt x="142191" y="312467"/>
                </a:cubicBezTo>
                <a:close/>
                <a:moveTo>
                  <a:pt x="0" y="0"/>
                </a:moveTo>
                <a:lnTo>
                  <a:pt x="3708000" y="0"/>
                </a:lnTo>
                <a:lnTo>
                  <a:pt x="3708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75" name="Dots">
            <a:extLst>
              <a:ext uri="{FF2B5EF4-FFF2-40B4-BE49-F238E27FC236}">
                <a16:creationId xmlns:a16="http://schemas.microsoft.com/office/drawing/2014/main" id="{2E3B1537-5542-4DE2-9E35-373E9D811F5A}"/>
              </a:ext>
            </a:extLst>
          </p:cNvPr>
          <p:cNvSpPr/>
          <p:nvPr userDrawn="1"/>
        </p:nvSpPr>
        <p:spPr>
          <a:xfrm rot="16200000">
            <a:off x="3783671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E1AED2E5-EACC-4379-8B86-BDCC33C414F2}"/>
              </a:ext>
            </a:extLst>
          </p:cNvPr>
          <p:cNvGrpSpPr/>
          <p:nvPr/>
        </p:nvGrpSpPr>
        <p:grpSpPr>
          <a:xfrm>
            <a:off x="571125" y="4482250"/>
            <a:ext cx="1535077" cy="256610"/>
            <a:chOff x="301852" y="4913727"/>
            <a:chExt cx="487916" cy="81562"/>
          </a:xfrm>
          <a:solidFill>
            <a:schemeClr val="bg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1" y="231776"/>
            <a:ext cx="4104000" cy="2583344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A3928A5-23A9-42AB-BE2A-254DDB2EE1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1" y="2933271"/>
            <a:ext cx="4104000" cy="1008000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add sub title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2B055659-967E-4FB4-B761-219916CE0D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958761"/>
            <a:ext cx="4104000" cy="36512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EACBBB"/>
                </a:solidFill>
              </a:defRPr>
            </a:lvl1pPr>
            <a:lvl2pPr marL="179388" indent="0">
              <a:buNone/>
              <a:defRPr/>
            </a:lvl2pPr>
            <a:lvl3pPr marL="360362" indent="0">
              <a:buNone/>
              <a:defRPr/>
            </a:lvl3pPr>
            <a:lvl4pPr marL="539750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US"/>
              <a:t>Click to add date and/or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220028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3273091" cy="1439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for example Agenda</a:t>
            </a:r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A9A9A9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5" name="Dots">
            <a:extLst>
              <a:ext uri="{FF2B5EF4-FFF2-40B4-BE49-F238E27FC236}">
                <a16:creationId xmlns:a16="http://schemas.microsoft.com/office/drawing/2014/main" id="{7EB53862-94DA-442E-9BA3-F56AE08555A8}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93DDC7-6347-4E7C-80D6-CA23706A06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87788" y="231774"/>
            <a:ext cx="3276600" cy="4680000"/>
          </a:xfrm>
        </p:spPr>
        <p:txBody>
          <a:bodyPr anchor="ctr"/>
          <a:lstStyle>
            <a:lvl1pPr marL="239713" indent="-239713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tx2"/>
                </a:solidFill>
              </a:defRPr>
            </a:lvl1pPr>
            <a:lvl2pPr marL="407988" indent="-173038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tx2"/>
                </a:solidFill>
              </a:defRPr>
            </a:lvl2pPr>
            <a:lvl3pPr marL="587375" indent="-174625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tx2"/>
                </a:solidFill>
              </a:defRPr>
            </a:lvl3pPr>
            <a:lvl4pPr marL="768350" indent="-188913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tx2"/>
                </a:solidFill>
              </a:defRPr>
            </a:lvl4pPr>
            <a:lvl5pPr marL="946150" indent="-177800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DC43ACE-919E-4F14-B57A-476B078BDAD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8C85202-0B59-48F2-8674-991A71F862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C77536-C884-4A81-AE68-002872FF97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568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3" pos="4513">
          <p15:clr>
            <a:srgbClr val="FBAE40"/>
          </p15:clr>
        </p15:guide>
        <p15:guide id="4" pos="2245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3273091" cy="1439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 for example Agenda</a:t>
            </a:r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5" name="Dots">
            <a:extLst>
              <a:ext uri="{FF2B5EF4-FFF2-40B4-BE49-F238E27FC236}">
                <a16:creationId xmlns:a16="http://schemas.microsoft.com/office/drawing/2014/main" id="{7EB53862-94DA-442E-9BA3-F56AE08555A8}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93DDC7-6347-4E7C-80D6-CA23706A06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87788" y="231774"/>
            <a:ext cx="3276600" cy="4680000"/>
          </a:xfrm>
        </p:spPr>
        <p:txBody>
          <a:bodyPr anchor="ctr"/>
          <a:lstStyle>
            <a:lvl1pPr marL="239713" indent="-239713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407988" indent="-173038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2pPr>
            <a:lvl3pPr marL="587375" indent="-174625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768350" indent="-188913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946150" indent="-177800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DC43ACE-919E-4F14-B57A-476B078BDAD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8C85202-0B59-48F2-8674-991A71F862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C77536-C884-4A81-AE68-002872FF97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890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3" pos="4513">
          <p15:clr>
            <a:srgbClr val="FBAE40"/>
          </p15:clr>
        </p15:guide>
        <p15:guide id="4" pos="2245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bg>
      <p:bgPr>
        <a:solidFill>
          <a:schemeClr val="accent4">
            <a:alpha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3273091" cy="1439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 for example Agenda</a:t>
            </a:r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C4C1BE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5" name="Dots">
            <a:extLst>
              <a:ext uri="{FF2B5EF4-FFF2-40B4-BE49-F238E27FC236}">
                <a16:creationId xmlns:a16="http://schemas.microsoft.com/office/drawing/2014/main" id="{7EB53862-94DA-442E-9BA3-F56AE08555A8}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6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93DDC7-6347-4E7C-80D6-CA23706A06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87788" y="231774"/>
            <a:ext cx="3276600" cy="4680000"/>
          </a:xfrm>
        </p:spPr>
        <p:txBody>
          <a:bodyPr anchor="ctr"/>
          <a:lstStyle>
            <a:lvl1pPr marL="239713" indent="-239713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407988" indent="-173038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2pPr>
            <a:lvl3pPr marL="587375" indent="-174625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768350" indent="-188913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946150" indent="-177800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DC43ACE-919E-4F14-B57A-476B078BDAD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C4C1BE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8C85202-0B59-48F2-8674-991A71F862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C4C1BE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C77536-C884-4A81-AE68-002872FF97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C4C1BE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464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3" pos="4513">
          <p15:clr>
            <a:srgbClr val="FBAE40"/>
          </p15:clr>
        </p15:guide>
        <p15:guide id="4" pos="2245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s slide 1">
    <p:bg>
      <p:bgPr>
        <a:solidFill>
          <a:schemeClr val="accent3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6A2EB4F0-1242-4B37-82D8-85D39CC7DC7D}"/>
              </a:ext>
            </a:extLst>
          </p:cNvPr>
          <p:cNvSpPr/>
          <p:nvPr userDrawn="1"/>
        </p:nvSpPr>
        <p:spPr>
          <a:xfrm>
            <a:off x="5943600" y="1078086"/>
            <a:ext cx="2462674" cy="32675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Picture Placeholder 58">
            <a:extLst>
              <a:ext uri="{FF2B5EF4-FFF2-40B4-BE49-F238E27FC236}">
                <a16:creationId xmlns:a16="http://schemas.microsoft.com/office/drawing/2014/main" id="{1CA0517D-045A-4564-9B4D-F22051D254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15025" y="1050925"/>
            <a:ext cx="2524125" cy="3338513"/>
          </a:xfrm>
          <a:custGeom>
            <a:avLst/>
            <a:gdLst>
              <a:gd name="connsiteX0" fmla="*/ 2313456 w 2524125"/>
              <a:gd name="connsiteY0" fmla="*/ 433154 h 3338513"/>
              <a:gd name="connsiteX1" fmla="*/ 2300590 w 2524125"/>
              <a:gd name="connsiteY1" fmla="*/ 444804 h 3338513"/>
              <a:gd name="connsiteX2" fmla="*/ 2300590 w 2524125"/>
              <a:gd name="connsiteY2" fmla="*/ 444851 h 3338513"/>
              <a:gd name="connsiteX3" fmla="*/ 2313116 w 2524125"/>
              <a:gd name="connsiteY3" fmla="*/ 457021 h 3338513"/>
              <a:gd name="connsiteX4" fmla="*/ 2325735 w 2524125"/>
              <a:gd name="connsiteY4" fmla="*/ 445366 h 3338513"/>
              <a:gd name="connsiteX5" fmla="*/ 2313456 w 2524125"/>
              <a:gd name="connsiteY5" fmla="*/ 433154 h 3338513"/>
              <a:gd name="connsiteX6" fmla="*/ 2012929 w 2524125"/>
              <a:gd name="connsiteY6" fmla="*/ 421597 h 3338513"/>
              <a:gd name="connsiteX7" fmla="*/ 1987197 w 2524125"/>
              <a:gd name="connsiteY7" fmla="*/ 444805 h 3338513"/>
              <a:gd name="connsiteX8" fmla="*/ 1987197 w 2524125"/>
              <a:gd name="connsiteY8" fmla="*/ 444855 h 3338513"/>
              <a:gd name="connsiteX9" fmla="*/ 2012299 w 2524125"/>
              <a:gd name="connsiteY9" fmla="*/ 469238 h 3338513"/>
              <a:gd name="connsiteX10" fmla="*/ 2037385 w 2524125"/>
              <a:gd name="connsiteY10" fmla="*/ 446021 h 3338513"/>
              <a:gd name="connsiteX11" fmla="*/ 2012929 w 2524125"/>
              <a:gd name="connsiteY11" fmla="*/ 421597 h 3338513"/>
              <a:gd name="connsiteX12" fmla="*/ 2313795 w 2524125"/>
              <a:gd name="connsiteY12" fmla="*/ 128671 h 3338513"/>
              <a:gd name="connsiteX13" fmla="*/ 2288063 w 2524125"/>
              <a:gd name="connsiteY13" fmla="*/ 151879 h 3338513"/>
              <a:gd name="connsiteX14" fmla="*/ 2288063 w 2524125"/>
              <a:gd name="connsiteY14" fmla="*/ 151882 h 3338513"/>
              <a:gd name="connsiteX15" fmla="*/ 2313114 w 2524125"/>
              <a:gd name="connsiteY15" fmla="*/ 176312 h 3338513"/>
              <a:gd name="connsiteX16" fmla="*/ 2338250 w 2524125"/>
              <a:gd name="connsiteY16" fmla="*/ 153095 h 3338513"/>
              <a:gd name="connsiteX17" fmla="*/ 2313795 w 2524125"/>
              <a:gd name="connsiteY17" fmla="*/ 128671 h 3338513"/>
              <a:gd name="connsiteX18" fmla="*/ 1712068 w 2524125"/>
              <a:gd name="connsiteY18" fmla="*/ 128107 h 3338513"/>
              <a:gd name="connsiteX19" fmla="*/ 1686381 w 2524125"/>
              <a:gd name="connsiteY19" fmla="*/ 151367 h 3338513"/>
              <a:gd name="connsiteX20" fmla="*/ 1711481 w 2524125"/>
              <a:gd name="connsiteY20" fmla="*/ 175753 h 3338513"/>
              <a:gd name="connsiteX21" fmla="*/ 1736567 w 2524125"/>
              <a:gd name="connsiteY21" fmla="*/ 152490 h 3338513"/>
              <a:gd name="connsiteX22" fmla="*/ 1712068 w 2524125"/>
              <a:gd name="connsiteY22" fmla="*/ 128107 h 3338513"/>
              <a:gd name="connsiteX23" fmla="*/ 2013270 w 2524125"/>
              <a:gd name="connsiteY23" fmla="*/ 117112 h 3338513"/>
              <a:gd name="connsiteX24" fmla="*/ 1974671 w 2524125"/>
              <a:gd name="connsiteY24" fmla="*/ 151878 h 3338513"/>
              <a:gd name="connsiteX25" fmla="*/ 1974671 w 2524125"/>
              <a:gd name="connsiteY25" fmla="*/ 151882 h 3338513"/>
              <a:gd name="connsiteX26" fmla="*/ 2012299 w 2524125"/>
              <a:gd name="connsiteY26" fmla="*/ 188528 h 3338513"/>
              <a:gd name="connsiteX27" fmla="*/ 2049901 w 2524125"/>
              <a:gd name="connsiteY27" fmla="*/ 153750 h 3338513"/>
              <a:gd name="connsiteX28" fmla="*/ 2013270 w 2524125"/>
              <a:gd name="connsiteY28" fmla="*/ 117112 h 3338513"/>
              <a:gd name="connsiteX29" fmla="*/ 0 w 2524125"/>
              <a:gd name="connsiteY29" fmla="*/ 0 h 3338513"/>
              <a:gd name="connsiteX30" fmla="*/ 2524125 w 2524125"/>
              <a:gd name="connsiteY30" fmla="*/ 0 h 3338513"/>
              <a:gd name="connsiteX31" fmla="*/ 2524125 w 2524125"/>
              <a:gd name="connsiteY31" fmla="*/ 3338513 h 3338513"/>
              <a:gd name="connsiteX32" fmla="*/ 0 w 2524125"/>
              <a:gd name="connsiteY32" fmla="*/ 3338513 h 3338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524125" h="3338513">
                <a:moveTo>
                  <a:pt x="2313456" y="433154"/>
                </a:moveTo>
                <a:cubicBezTo>
                  <a:pt x="2306512" y="432999"/>
                  <a:pt x="2300753" y="438214"/>
                  <a:pt x="2300590" y="444804"/>
                </a:cubicBezTo>
                <a:cubicBezTo>
                  <a:pt x="2300590" y="444819"/>
                  <a:pt x="2300590" y="444837"/>
                  <a:pt x="2300590" y="444851"/>
                </a:cubicBezTo>
                <a:cubicBezTo>
                  <a:pt x="2300506" y="451498"/>
                  <a:pt x="2306118" y="456946"/>
                  <a:pt x="2313116" y="457021"/>
                </a:cubicBezTo>
                <a:cubicBezTo>
                  <a:pt x="2319966" y="457045"/>
                  <a:pt x="2325572" y="451863"/>
                  <a:pt x="2325735" y="445366"/>
                </a:cubicBezTo>
                <a:cubicBezTo>
                  <a:pt x="2325898" y="438776"/>
                  <a:pt x="2320399" y="433308"/>
                  <a:pt x="2313456" y="433154"/>
                </a:cubicBezTo>
                <a:close/>
                <a:moveTo>
                  <a:pt x="2012929" y="421597"/>
                </a:moveTo>
                <a:cubicBezTo>
                  <a:pt x="1999072" y="421259"/>
                  <a:pt x="1987552" y="431651"/>
                  <a:pt x="1987197" y="444805"/>
                </a:cubicBezTo>
                <a:cubicBezTo>
                  <a:pt x="1987197" y="444823"/>
                  <a:pt x="1987197" y="444837"/>
                  <a:pt x="1987197" y="444855"/>
                </a:cubicBezTo>
                <a:cubicBezTo>
                  <a:pt x="1987035" y="458168"/>
                  <a:pt x="1998273" y="469084"/>
                  <a:pt x="2012299" y="469238"/>
                </a:cubicBezTo>
                <a:cubicBezTo>
                  <a:pt x="2025909" y="469234"/>
                  <a:pt x="2037035" y="458936"/>
                  <a:pt x="2037385" y="446021"/>
                </a:cubicBezTo>
                <a:cubicBezTo>
                  <a:pt x="2037735" y="432868"/>
                  <a:pt x="2026791" y="421929"/>
                  <a:pt x="2012929" y="421597"/>
                </a:cubicBezTo>
                <a:close/>
                <a:moveTo>
                  <a:pt x="2313795" y="128671"/>
                </a:moveTo>
                <a:cubicBezTo>
                  <a:pt x="2299937" y="128333"/>
                  <a:pt x="2288417" y="138725"/>
                  <a:pt x="2288063" y="151879"/>
                </a:cubicBezTo>
                <a:cubicBezTo>
                  <a:pt x="2288063" y="151879"/>
                  <a:pt x="2288063" y="151882"/>
                  <a:pt x="2288063" y="151882"/>
                </a:cubicBezTo>
                <a:cubicBezTo>
                  <a:pt x="2287875" y="165195"/>
                  <a:pt x="2299089" y="176134"/>
                  <a:pt x="2313114" y="176312"/>
                </a:cubicBezTo>
                <a:cubicBezTo>
                  <a:pt x="2326745" y="176335"/>
                  <a:pt x="2337900" y="166028"/>
                  <a:pt x="2338250" y="153095"/>
                </a:cubicBezTo>
                <a:cubicBezTo>
                  <a:pt x="2338600" y="139942"/>
                  <a:pt x="2327657" y="129003"/>
                  <a:pt x="2313795" y="128671"/>
                </a:cubicBezTo>
                <a:close/>
                <a:moveTo>
                  <a:pt x="1712068" y="128107"/>
                </a:moveTo>
                <a:cubicBezTo>
                  <a:pt x="1698205" y="127798"/>
                  <a:pt x="1686706" y="138213"/>
                  <a:pt x="1686381" y="151367"/>
                </a:cubicBezTo>
                <a:cubicBezTo>
                  <a:pt x="1686242" y="164670"/>
                  <a:pt x="1697466" y="175576"/>
                  <a:pt x="1711481" y="175753"/>
                </a:cubicBezTo>
                <a:cubicBezTo>
                  <a:pt x="1725112" y="175749"/>
                  <a:pt x="1736247" y="165423"/>
                  <a:pt x="1736567" y="152490"/>
                </a:cubicBezTo>
                <a:cubicBezTo>
                  <a:pt x="1736893" y="139337"/>
                  <a:pt x="1725925" y="128421"/>
                  <a:pt x="1712068" y="128107"/>
                </a:cubicBezTo>
                <a:close/>
                <a:moveTo>
                  <a:pt x="2013270" y="117112"/>
                </a:moveTo>
                <a:cubicBezTo>
                  <a:pt x="1992499" y="116593"/>
                  <a:pt x="1975214" y="132162"/>
                  <a:pt x="1974671" y="151878"/>
                </a:cubicBezTo>
                <a:cubicBezTo>
                  <a:pt x="1974671" y="151878"/>
                  <a:pt x="1974671" y="151882"/>
                  <a:pt x="1974671" y="151882"/>
                </a:cubicBezTo>
                <a:cubicBezTo>
                  <a:pt x="1974400" y="171864"/>
                  <a:pt x="1991246" y="188270"/>
                  <a:pt x="2012299" y="188528"/>
                </a:cubicBezTo>
                <a:cubicBezTo>
                  <a:pt x="2032690" y="188524"/>
                  <a:pt x="2049364" y="173100"/>
                  <a:pt x="2049901" y="153750"/>
                </a:cubicBezTo>
                <a:cubicBezTo>
                  <a:pt x="2050443" y="134034"/>
                  <a:pt x="2034046" y="117628"/>
                  <a:pt x="2013270" y="117112"/>
                </a:cubicBezTo>
                <a:close/>
                <a:moveTo>
                  <a:pt x="0" y="0"/>
                </a:moveTo>
                <a:lnTo>
                  <a:pt x="2524125" y="0"/>
                </a:lnTo>
                <a:lnTo>
                  <a:pt x="2524125" y="3338513"/>
                </a:lnTo>
                <a:lnTo>
                  <a:pt x="0" y="333851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8" y="231776"/>
            <a:ext cx="4392923" cy="1882203"/>
          </a:xfrm>
        </p:spPr>
        <p:txBody>
          <a:bodyPr anchor="b"/>
          <a:lstStyle>
            <a:lvl1pPr algn="l"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/>
              <a:t>Speakers nam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A3928A5-23A9-42AB-BE2A-254DDB2EE1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8" y="2130373"/>
            <a:ext cx="4392923" cy="1008000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rgbClr val="655B54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add role title</a:t>
            </a:r>
          </a:p>
        </p:txBody>
      </p:sp>
      <p:grpSp>
        <p:nvGrpSpPr>
          <p:cNvPr id="34" name="Graphic 19">
            <a:extLst>
              <a:ext uri="{FF2B5EF4-FFF2-40B4-BE49-F238E27FC236}">
                <a16:creationId xmlns:a16="http://schemas.microsoft.com/office/drawing/2014/main" id="{30CCF508-8A96-414E-9404-07DB1BC1116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F07F829-F6FC-4DF2-90CA-7E0E05E129F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C99CDAA-6B26-4696-95A7-75B99CF0A8D5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49E2DEE-F59C-4F32-839F-23EF943860C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4FECE93-C406-440F-B693-95442BB2B39D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2779207-3649-4476-B022-010AD1C8527D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F519B0A-0299-483D-BAFF-7DB63D01CAF8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2CBB9F8-0686-4E84-A9E1-C36C0BFC789A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0F79D2-7F6D-4A6C-99C4-1197C1C96A4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25792C8-2B0A-4D38-8872-2BA9859CC20C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C6C7FB1-D6C2-4132-87FD-770849F63E7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A97DBC4-3087-4BF9-837F-611C44A4C982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A90523E-2EEF-4C47-8A8E-75151ECB51E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AF56317-AA4A-4D20-98E3-07A50B1DB919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9E2A8E1-D8EA-4D9A-BF79-BBC3C8319030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59C028A-6019-4F31-98BF-64BCC56D005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E578A76-37FF-465B-A2F8-022311982319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A3D30F8-66D8-42FE-A00A-CBC30A14DA93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47D2386-F1CE-4D5D-A178-537E05B7FAA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56E0BFB-980D-49F4-BE48-1D88A88AADB8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B7FACB1-263A-42DA-8964-252FBF1B7141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A9B3A4-EC1D-48FE-AA9D-498A39DEE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B2D188-24CD-4318-B9F6-CDB0F6DA71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7CCF62-5A96-461B-B8BA-E249CAEFF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1" name="Dots">
            <a:extLst>
              <a:ext uri="{FF2B5EF4-FFF2-40B4-BE49-F238E27FC236}">
                <a16:creationId xmlns:a16="http://schemas.microsoft.com/office/drawing/2014/main" id="{4DC8648D-B704-4A1B-92A8-2B5828CECBBD}"/>
              </a:ext>
            </a:extLst>
          </p:cNvPr>
          <p:cNvSpPr/>
          <p:nvPr userDrawn="1"/>
        </p:nvSpPr>
        <p:spPr>
          <a:xfrm rot="16200000">
            <a:off x="7037019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899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s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CD2B8DDE-141E-47A1-827C-BEBE167408A8}"/>
              </a:ext>
            </a:extLst>
          </p:cNvPr>
          <p:cNvSpPr/>
          <p:nvPr userDrawn="1"/>
        </p:nvSpPr>
        <p:spPr>
          <a:xfrm>
            <a:off x="5943600" y="1078086"/>
            <a:ext cx="2462674" cy="32675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8" y="231776"/>
            <a:ext cx="4392923" cy="1882203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Speakers nam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A3928A5-23A9-42AB-BE2A-254DDB2EE1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8" y="2130373"/>
            <a:ext cx="4392923" cy="1008000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rgbClr val="EACBBB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add role title</a:t>
            </a:r>
          </a:p>
        </p:txBody>
      </p:sp>
      <p:grpSp>
        <p:nvGrpSpPr>
          <p:cNvPr id="34" name="Graphic 19">
            <a:extLst>
              <a:ext uri="{FF2B5EF4-FFF2-40B4-BE49-F238E27FC236}">
                <a16:creationId xmlns:a16="http://schemas.microsoft.com/office/drawing/2014/main" id="{30CCF508-8A96-414E-9404-07DB1BC1116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F07F829-F6FC-4DF2-90CA-7E0E05E129F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C99CDAA-6B26-4696-95A7-75B99CF0A8D5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49E2DEE-F59C-4F32-839F-23EF943860C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4FECE93-C406-440F-B693-95442BB2B39D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2779207-3649-4476-B022-010AD1C8527D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F519B0A-0299-483D-BAFF-7DB63D01CAF8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2CBB9F8-0686-4E84-A9E1-C36C0BFC789A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0F79D2-7F6D-4A6C-99C4-1197C1C96A4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25792C8-2B0A-4D38-8872-2BA9859CC20C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C6C7FB1-D6C2-4132-87FD-770849F63E7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A97DBC4-3087-4BF9-837F-611C44A4C982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A90523E-2EEF-4C47-8A8E-75151ECB51E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AF56317-AA4A-4D20-98E3-07A50B1DB919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9E2A8E1-D8EA-4D9A-BF79-BBC3C8319030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59C028A-6019-4F31-98BF-64BCC56D005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E578A76-37FF-465B-A2F8-022311982319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A3D30F8-66D8-42FE-A00A-CBC30A14DA93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47D2386-F1CE-4D5D-A178-537E05B7FAA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56E0BFB-980D-49F4-BE48-1D88A88AADB8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B7FACB1-263A-42DA-8964-252FBF1B7141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A9B3A4-EC1D-48FE-AA9D-498A39DEE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B2D188-24CD-4318-B9F6-CDB0F6DA71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7CCF62-5A96-461B-B8BA-E249CAEFF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ED1BA532-3110-40F8-A761-D6129FF3DF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15025" y="1050925"/>
            <a:ext cx="2524125" cy="3338513"/>
          </a:xfrm>
          <a:custGeom>
            <a:avLst/>
            <a:gdLst>
              <a:gd name="connsiteX0" fmla="*/ 2313456 w 2524125"/>
              <a:gd name="connsiteY0" fmla="*/ 433154 h 3338513"/>
              <a:gd name="connsiteX1" fmla="*/ 2300590 w 2524125"/>
              <a:gd name="connsiteY1" fmla="*/ 444804 h 3338513"/>
              <a:gd name="connsiteX2" fmla="*/ 2300590 w 2524125"/>
              <a:gd name="connsiteY2" fmla="*/ 444851 h 3338513"/>
              <a:gd name="connsiteX3" fmla="*/ 2313116 w 2524125"/>
              <a:gd name="connsiteY3" fmla="*/ 457021 h 3338513"/>
              <a:gd name="connsiteX4" fmla="*/ 2325735 w 2524125"/>
              <a:gd name="connsiteY4" fmla="*/ 445366 h 3338513"/>
              <a:gd name="connsiteX5" fmla="*/ 2313456 w 2524125"/>
              <a:gd name="connsiteY5" fmla="*/ 433154 h 3338513"/>
              <a:gd name="connsiteX6" fmla="*/ 2012929 w 2524125"/>
              <a:gd name="connsiteY6" fmla="*/ 421597 h 3338513"/>
              <a:gd name="connsiteX7" fmla="*/ 1987197 w 2524125"/>
              <a:gd name="connsiteY7" fmla="*/ 444805 h 3338513"/>
              <a:gd name="connsiteX8" fmla="*/ 1987197 w 2524125"/>
              <a:gd name="connsiteY8" fmla="*/ 444855 h 3338513"/>
              <a:gd name="connsiteX9" fmla="*/ 2012299 w 2524125"/>
              <a:gd name="connsiteY9" fmla="*/ 469238 h 3338513"/>
              <a:gd name="connsiteX10" fmla="*/ 2037385 w 2524125"/>
              <a:gd name="connsiteY10" fmla="*/ 446021 h 3338513"/>
              <a:gd name="connsiteX11" fmla="*/ 2012929 w 2524125"/>
              <a:gd name="connsiteY11" fmla="*/ 421597 h 3338513"/>
              <a:gd name="connsiteX12" fmla="*/ 2313795 w 2524125"/>
              <a:gd name="connsiteY12" fmla="*/ 128671 h 3338513"/>
              <a:gd name="connsiteX13" fmla="*/ 2288063 w 2524125"/>
              <a:gd name="connsiteY13" fmla="*/ 151879 h 3338513"/>
              <a:gd name="connsiteX14" fmla="*/ 2288063 w 2524125"/>
              <a:gd name="connsiteY14" fmla="*/ 151882 h 3338513"/>
              <a:gd name="connsiteX15" fmla="*/ 2313114 w 2524125"/>
              <a:gd name="connsiteY15" fmla="*/ 176312 h 3338513"/>
              <a:gd name="connsiteX16" fmla="*/ 2338250 w 2524125"/>
              <a:gd name="connsiteY16" fmla="*/ 153095 h 3338513"/>
              <a:gd name="connsiteX17" fmla="*/ 2313795 w 2524125"/>
              <a:gd name="connsiteY17" fmla="*/ 128671 h 3338513"/>
              <a:gd name="connsiteX18" fmla="*/ 1712068 w 2524125"/>
              <a:gd name="connsiteY18" fmla="*/ 128107 h 3338513"/>
              <a:gd name="connsiteX19" fmla="*/ 1686381 w 2524125"/>
              <a:gd name="connsiteY19" fmla="*/ 151367 h 3338513"/>
              <a:gd name="connsiteX20" fmla="*/ 1711481 w 2524125"/>
              <a:gd name="connsiteY20" fmla="*/ 175753 h 3338513"/>
              <a:gd name="connsiteX21" fmla="*/ 1736567 w 2524125"/>
              <a:gd name="connsiteY21" fmla="*/ 152490 h 3338513"/>
              <a:gd name="connsiteX22" fmla="*/ 1712068 w 2524125"/>
              <a:gd name="connsiteY22" fmla="*/ 128107 h 3338513"/>
              <a:gd name="connsiteX23" fmla="*/ 2013270 w 2524125"/>
              <a:gd name="connsiteY23" fmla="*/ 117112 h 3338513"/>
              <a:gd name="connsiteX24" fmla="*/ 1974671 w 2524125"/>
              <a:gd name="connsiteY24" fmla="*/ 151878 h 3338513"/>
              <a:gd name="connsiteX25" fmla="*/ 1974671 w 2524125"/>
              <a:gd name="connsiteY25" fmla="*/ 151882 h 3338513"/>
              <a:gd name="connsiteX26" fmla="*/ 2012299 w 2524125"/>
              <a:gd name="connsiteY26" fmla="*/ 188528 h 3338513"/>
              <a:gd name="connsiteX27" fmla="*/ 2049901 w 2524125"/>
              <a:gd name="connsiteY27" fmla="*/ 153750 h 3338513"/>
              <a:gd name="connsiteX28" fmla="*/ 2013270 w 2524125"/>
              <a:gd name="connsiteY28" fmla="*/ 117112 h 3338513"/>
              <a:gd name="connsiteX29" fmla="*/ 0 w 2524125"/>
              <a:gd name="connsiteY29" fmla="*/ 0 h 3338513"/>
              <a:gd name="connsiteX30" fmla="*/ 2524125 w 2524125"/>
              <a:gd name="connsiteY30" fmla="*/ 0 h 3338513"/>
              <a:gd name="connsiteX31" fmla="*/ 2524125 w 2524125"/>
              <a:gd name="connsiteY31" fmla="*/ 3338513 h 3338513"/>
              <a:gd name="connsiteX32" fmla="*/ 0 w 2524125"/>
              <a:gd name="connsiteY32" fmla="*/ 3338513 h 3338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524125" h="3338513">
                <a:moveTo>
                  <a:pt x="2313456" y="433154"/>
                </a:moveTo>
                <a:cubicBezTo>
                  <a:pt x="2306512" y="432999"/>
                  <a:pt x="2300753" y="438214"/>
                  <a:pt x="2300590" y="444804"/>
                </a:cubicBezTo>
                <a:cubicBezTo>
                  <a:pt x="2300590" y="444819"/>
                  <a:pt x="2300590" y="444837"/>
                  <a:pt x="2300590" y="444851"/>
                </a:cubicBezTo>
                <a:cubicBezTo>
                  <a:pt x="2300506" y="451498"/>
                  <a:pt x="2306118" y="456946"/>
                  <a:pt x="2313116" y="457021"/>
                </a:cubicBezTo>
                <a:cubicBezTo>
                  <a:pt x="2319966" y="457045"/>
                  <a:pt x="2325572" y="451863"/>
                  <a:pt x="2325735" y="445366"/>
                </a:cubicBezTo>
                <a:cubicBezTo>
                  <a:pt x="2325898" y="438776"/>
                  <a:pt x="2320399" y="433308"/>
                  <a:pt x="2313456" y="433154"/>
                </a:cubicBezTo>
                <a:close/>
                <a:moveTo>
                  <a:pt x="2012929" y="421597"/>
                </a:moveTo>
                <a:cubicBezTo>
                  <a:pt x="1999072" y="421259"/>
                  <a:pt x="1987552" y="431651"/>
                  <a:pt x="1987197" y="444805"/>
                </a:cubicBezTo>
                <a:cubicBezTo>
                  <a:pt x="1987197" y="444823"/>
                  <a:pt x="1987197" y="444837"/>
                  <a:pt x="1987197" y="444855"/>
                </a:cubicBezTo>
                <a:cubicBezTo>
                  <a:pt x="1987035" y="458168"/>
                  <a:pt x="1998273" y="469084"/>
                  <a:pt x="2012299" y="469238"/>
                </a:cubicBezTo>
                <a:cubicBezTo>
                  <a:pt x="2025909" y="469234"/>
                  <a:pt x="2037035" y="458936"/>
                  <a:pt x="2037385" y="446021"/>
                </a:cubicBezTo>
                <a:cubicBezTo>
                  <a:pt x="2037735" y="432868"/>
                  <a:pt x="2026791" y="421929"/>
                  <a:pt x="2012929" y="421597"/>
                </a:cubicBezTo>
                <a:close/>
                <a:moveTo>
                  <a:pt x="2313795" y="128671"/>
                </a:moveTo>
                <a:cubicBezTo>
                  <a:pt x="2299937" y="128333"/>
                  <a:pt x="2288417" y="138725"/>
                  <a:pt x="2288063" y="151879"/>
                </a:cubicBezTo>
                <a:cubicBezTo>
                  <a:pt x="2288063" y="151879"/>
                  <a:pt x="2288063" y="151882"/>
                  <a:pt x="2288063" y="151882"/>
                </a:cubicBezTo>
                <a:cubicBezTo>
                  <a:pt x="2287875" y="165195"/>
                  <a:pt x="2299089" y="176134"/>
                  <a:pt x="2313114" y="176312"/>
                </a:cubicBezTo>
                <a:cubicBezTo>
                  <a:pt x="2326745" y="176335"/>
                  <a:pt x="2337900" y="166028"/>
                  <a:pt x="2338250" y="153095"/>
                </a:cubicBezTo>
                <a:cubicBezTo>
                  <a:pt x="2338600" y="139942"/>
                  <a:pt x="2327657" y="129003"/>
                  <a:pt x="2313795" y="128671"/>
                </a:cubicBezTo>
                <a:close/>
                <a:moveTo>
                  <a:pt x="1712068" y="128107"/>
                </a:moveTo>
                <a:cubicBezTo>
                  <a:pt x="1698205" y="127798"/>
                  <a:pt x="1686706" y="138213"/>
                  <a:pt x="1686381" y="151367"/>
                </a:cubicBezTo>
                <a:cubicBezTo>
                  <a:pt x="1686242" y="164670"/>
                  <a:pt x="1697466" y="175576"/>
                  <a:pt x="1711481" y="175753"/>
                </a:cubicBezTo>
                <a:cubicBezTo>
                  <a:pt x="1725112" y="175749"/>
                  <a:pt x="1736247" y="165423"/>
                  <a:pt x="1736567" y="152490"/>
                </a:cubicBezTo>
                <a:cubicBezTo>
                  <a:pt x="1736893" y="139337"/>
                  <a:pt x="1725925" y="128421"/>
                  <a:pt x="1712068" y="128107"/>
                </a:cubicBezTo>
                <a:close/>
                <a:moveTo>
                  <a:pt x="2013270" y="117112"/>
                </a:moveTo>
                <a:cubicBezTo>
                  <a:pt x="1992499" y="116593"/>
                  <a:pt x="1975214" y="132162"/>
                  <a:pt x="1974671" y="151878"/>
                </a:cubicBezTo>
                <a:cubicBezTo>
                  <a:pt x="1974671" y="151878"/>
                  <a:pt x="1974671" y="151882"/>
                  <a:pt x="1974671" y="151882"/>
                </a:cubicBezTo>
                <a:cubicBezTo>
                  <a:pt x="1974400" y="171864"/>
                  <a:pt x="1991246" y="188270"/>
                  <a:pt x="2012299" y="188528"/>
                </a:cubicBezTo>
                <a:cubicBezTo>
                  <a:pt x="2032690" y="188524"/>
                  <a:pt x="2049364" y="173100"/>
                  <a:pt x="2049901" y="153750"/>
                </a:cubicBezTo>
                <a:cubicBezTo>
                  <a:pt x="2050443" y="134034"/>
                  <a:pt x="2034046" y="117628"/>
                  <a:pt x="2013270" y="117112"/>
                </a:cubicBezTo>
                <a:close/>
                <a:moveTo>
                  <a:pt x="0" y="0"/>
                </a:moveTo>
                <a:lnTo>
                  <a:pt x="2524125" y="0"/>
                </a:lnTo>
                <a:lnTo>
                  <a:pt x="2524125" y="3338513"/>
                </a:lnTo>
                <a:lnTo>
                  <a:pt x="0" y="333851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4" name="Dots">
            <a:extLst>
              <a:ext uri="{FF2B5EF4-FFF2-40B4-BE49-F238E27FC236}">
                <a16:creationId xmlns:a16="http://schemas.microsoft.com/office/drawing/2014/main" id="{6756FC10-BA1F-4145-A18C-32CA39246229}"/>
              </a:ext>
            </a:extLst>
          </p:cNvPr>
          <p:cNvSpPr/>
          <p:nvPr userDrawn="1"/>
        </p:nvSpPr>
        <p:spPr>
          <a:xfrm rot="16200000">
            <a:off x="7037019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025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3924300" cy="1439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chapter number an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6B92CC9-D409-4CA2-BC27-3B3C472F90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27934" y="309264"/>
            <a:ext cx="2710869" cy="2710869"/>
          </a:xfrm>
          <a:prstGeom prst="rect">
            <a:avLst/>
          </a:prstGeom>
        </p:spPr>
      </p:pic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301823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2">
    <p:bg>
      <p:bgPr>
        <a:solidFill>
          <a:srgbClr val="E5E5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3924300" cy="1439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chapter number an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A9A9A9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A9A9A9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9A9A9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A9A9A9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34" name="Graphic 33">
            <a:extLst>
              <a:ext uri="{FF2B5EF4-FFF2-40B4-BE49-F238E27FC236}">
                <a16:creationId xmlns:a16="http://schemas.microsoft.com/office/drawing/2014/main" id="{85E3058E-DF72-4531-BC6D-103DA984DB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18643" y="299811"/>
            <a:ext cx="2725548" cy="2725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561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3924300" cy="1439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number an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34" name="Graphic 33">
            <a:extLst>
              <a:ext uri="{FF2B5EF4-FFF2-40B4-BE49-F238E27FC236}">
                <a16:creationId xmlns:a16="http://schemas.microsoft.com/office/drawing/2014/main" id="{85E3058E-DF72-4531-BC6D-103DA984DB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18643" y="299811"/>
            <a:ext cx="2725548" cy="2725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126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1 and patter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grpSp>
        <p:nvGrpSpPr>
          <p:cNvPr id="10" name="Graphic 19">
            <a:extLst>
              <a:ext uri="{FF2B5EF4-FFF2-40B4-BE49-F238E27FC236}">
                <a16:creationId xmlns:a16="http://schemas.microsoft.com/office/drawing/2014/main" id="{59D87852-F834-409C-B191-0E3DB7829D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DF0FC44-919D-4D5C-BEDE-797DF9691A1F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2253D34-D437-45DF-84B9-D1CE60A1D188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40F4A8E-A03D-44B8-8474-1E1C3A2C5F7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FE8BD5B-94B5-4CAD-BE37-5FE1AD4E054A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B76B74-3ECE-4814-94B0-D91AF2A16645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3F50BF5-3D0F-4E32-9548-2354410572D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7BE7FA7-6CA4-4917-9C43-7B3C45C3A74D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EF1529-5969-4764-ADDC-55D2BEFAA9E0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82530C-BFF7-4FFE-89DD-F04656417F4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C00ED5B-069D-4629-9913-B89C79468A99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0DE64EC-1D8A-4A18-AA0D-966EA50380E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DD7AA4-96EE-4BE7-9AA6-FA06015C4658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FFBFE74-5BE0-4D88-9236-1490CB17271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920FB49-B53C-4555-9E94-A490506760C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C284678-601C-4037-8C9A-B5312F4A0C7A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C680057-9F14-40E7-A752-ED40510F485F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13A42F-A8E7-44E3-BB4A-7C763B911329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E738A0-7E88-4E9C-B9B3-96C293DE9CE9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EAB8D02-ECE2-4190-8241-1DF731560355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6C8C16D-3A30-4ADF-A1E1-5E5668E7D70F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53109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3">
    <p:bg>
      <p:bgPr>
        <a:solidFill>
          <a:srgbClr val="EACBBB">
            <a:alpha val="93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3924300" cy="1439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chapter number an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EB59F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EB59F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DEB59F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6B92CC9-D409-4CA2-BC27-3B3C472F90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27934" y="309264"/>
            <a:ext cx="2710869" cy="2710869"/>
          </a:xfrm>
          <a:prstGeom prst="rect">
            <a:avLst/>
          </a:prstGeom>
        </p:spPr>
      </p:pic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DEB59F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205936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5">
    <p:bg>
      <p:bgPr>
        <a:solidFill>
          <a:srgbClr val="EACBBB">
            <a:alpha val="25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55AA8E6-7A46-4092-A3A7-300270FD1A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13418" y="0"/>
            <a:ext cx="3030582" cy="51435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3924300" cy="1439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chapter number an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191564" y="4875766"/>
            <a:ext cx="1291279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A9A9A9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29077" y="4875766"/>
            <a:ext cx="316567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A9A9A9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617022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3696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55AA8E6-7A46-4092-A3A7-300270FD1A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13418" y="0"/>
            <a:ext cx="3030582" cy="51435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3924300" cy="1439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number an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02323" y="4875766"/>
            <a:ext cx="1291279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9836" y="4875766"/>
            <a:ext cx="316567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745044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  <p15:guide id="4" pos="3696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s slide 3">
    <p:bg>
      <p:bgPr>
        <a:solidFill>
          <a:schemeClr val="accent3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8" y="231776"/>
            <a:ext cx="4392923" cy="1882203"/>
          </a:xfrm>
        </p:spPr>
        <p:txBody>
          <a:bodyPr anchor="b"/>
          <a:lstStyle>
            <a:lvl1pPr algn="l"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/>
              <a:t>Speakers nam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A3928A5-23A9-42AB-BE2A-254DDB2EE1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8" y="2130373"/>
            <a:ext cx="4392923" cy="1008000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rgbClr val="655B54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add role title</a:t>
            </a:r>
          </a:p>
        </p:txBody>
      </p:sp>
      <p:grpSp>
        <p:nvGrpSpPr>
          <p:cNvPr id="34" name="Graphic 19">
            <a:extLst>
              <a:ext uri="{FF2B5EF4-FFF2-40B4-BE49-F238E27FC236}">
                <a16:creationId xmlns:a16="http://schemas.microsoft.com/office/drawing/2014/main" id="{30CCF508-8A96-414E-9404-07DB1BC1116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F07F829-F6FC-4DF2-90CA-7E0E05E129F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C99CDAA-6B26-4696-95A7-75B99CF0A8D5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49E2DEE-F59C-4F32-839F-23EF943860C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4FECE93-C406-440F-B693-95442BB2B39D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2779207-3649-4476-B022-010AD1C8527D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F519B0A-0299-483D-BAFF-7DB63D01CAF8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2CBB9F8-0686-4E84-A9E1-C36C0BFC789A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0F79D2-7F6D-4A6C-99C4-1197C1C96A4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25792C8-2B0A-4D38-8872-2BA9859CC20C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C6C7FB1-D6C2-4132-87FD-770849F63E7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A97DBC4-3087-4BF9-837F-611C44A4C982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A90523E-2EEF-4C47-8A8E-75151ECB51E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AF56317-AA4A-4D20-98E3-07A50B1DB919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9E2A8E1-D8EA-4D9A-BF79-BBC3C8319030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59C028A-6019-4F31-98BF-64BCC56D005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E578A76-37FF-465B-A2F8-022311982319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A3D30F8-66D8-42FE-A00A-CBC30A14DA93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47D2386-F1CE-4D5D-A178-537E05B7FAA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56E0BFB-980D-49F4-BE48-1D88A88AADB8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B7FACB1-263A-42DA-8964-252FBF1B7141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A9B3A4-EC1D-48FE-AA9D-498A39DEE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B2D188-24CD-4318-B9F6-CDB0F6DA71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7CCF62-5A96-461B-B8BA-E249CAEFF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2" name="Picture Placeholder 62">
            <a:extLst>
              <a:ext uri="{FF2B5EF4-FFF2-40B4-BE49-F238E27FC236}">
                <a16:creationId xmlns:a16="http://schemas.microsoft.com/office/drawing/2014/main" id="{51DD727F-E43F-4B84-9AF0-3AE3A5A8C3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15025" y="1050925"/>
            <a:ext cx="2524125" cy="33385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32601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s slid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8" y="231776"/>
            <a:ext cx="4392923" cy="1882203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Speakers nam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A3928A5-23A9-42AB-BE2A-254DDB2EE1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8" y="2130373"/>
            <a:ext cx="4392923" cy="1008000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rgbClr val="EACBBB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add role title</a:t>
            </a:r>
          </a:p>
        </p:txBody>
      </p:sp>
      <p:grpSp>
        <p:nvGrpSpPr>
          <p:cNvPr id="34" name="Graphic 19">
            <a:extLst>
              <a:ext uri="{FF2B5EF4-FFF2-40B4-BE49-F238E27FC236}">
                <a16:creationId xmlns:a16="http://schemas.microsoft.com/office/drawing/2014/main" id="{30CCF508-8A96-414E-9404-07DB1BC1116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F07F829-F6FC-4DF2-90CA-7E0E05E129F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C99CDAA-6B26-4696-95A7-75B99CF0A8D5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49E2DEE-F59C-4F32-839F-23EF943860C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4FECE93-C406-440F-B693-95442BB2B39D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2779207-3649-4476-B022-010AD1C8527D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F519B0A-0299-483D-BAFF-7DB63D01CAF8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2CBB9F8-0686-4E84-A9E1-C36C0BFC789A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0F79D2-7F6D-4A6C-99C4-1197C1C96A4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25792C8-2B0A-4D38-8872-2BA9859CC20C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C6C7FB1-D6C2-4132-87FD-770849F63E7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A97DBC4-3087-4BF9-837F-611C44A4C982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A90523E-2EEF-4C47-8A8E-75151ECB51E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AF56317-AA4A-4D20-98E3-07A50B1DB919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9E2A8E1-D8EA-4D9A-BF79-BBC3C8319030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59C028A-6019-4F31-98BF-64BCC56D005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E578A76-37FF-465B-A2F8-022311982319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A3D30F8-66D8-42FE-A00A-CBC30A14DA93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47D2386-F1CE-4D5D-A178-537E05B7FAA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56E0BFB-980D-49F4-BE48-1D88A88AADB8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B7FACB1-263A-42DA-8964-252FBF1B7141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A9B3A4-EC1D-48FE-AA9D-498A39DEE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B2D188-24CD-4318-B9F6-CDB0F6DA71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7CCF62-5A96-461B-B8BA-E249CAEFF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ED1BA532-3110-40F8-A761-D6129FF3DF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15025" y="1050925"/>
            <a:ext cx="2524125" cy="33385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19567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5"/>
            <a:ext cx="8569325" cy="97155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grpSp>
        <p:nvGrpSpPr>
          <p:cNvPr id="10" name="Graphic 19">
            <a:extLst>
              <a:ext uri="{FF2B5EF4-FFF2-40B4-BE49-F238E27FC236}">
                <a16:creationId xmlns:a16="http://schemas.microsoft.com/office/drawing/2014/main" id="{59D87852-F834-409C-B191-0E3DB7829DDA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DF0FC44-919D-4D5C-BEDE-797DF9691A1F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2253D34-D437-45DF-84B9-D1CE60A1D188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40F4A8E-A03D-44B8-8474-1E1C3A2C5F7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FE8BD5B-94B5-4CAD-BE37-5FE1AD4E054A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B76B74-3ECE-4814-94B0-D91AF2A16645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3F50BF5-3D0F-4E32-9548-2354410572D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7BE7FA7-6CA4-4917-9C43-7B3C45C3A74D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EF1529-5969-4764-ADDC-55D2BEFAA9E0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82530C-BFF7-4FFE-89DD-F04656417F4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C00ED5B-069D-4629-9913-B89C79468A99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0DE64EC-1D8A-4A18-AA0D-966EA50380E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DD7AA4-96EE-4BE7-9AA6-FA06015C4658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FFBFE74-5BE0-4D88-9236-1490CB17271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920FB49-B53C-4555-9E94-A490506760C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C284678-601C-4037-8C9A-B5312F4A0C7A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C680057-9F14-40E7-A752-ED40510F485F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13A42F-A8E7-44E3-BB4A-7C763B911329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E738A0-7E88-4E9C-B9B3-96C293DE9CE9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EAB8D02-ECE2-4190-8241-1DF731560355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6C8C16D-3A30-4ADF-A1E1-5E5668E7D70F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853668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5"/>
            <a:ext cx="8569325" cy="97155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0" name="Graphic 19">
            <a:extLst>
              <a:ext uri="{FF2B5EF4-FFF2-40B4-BE49-F238E27FC236}">
                <a16:creationId xmlns:a16="http://schemas.microsoft.com/office/drawing/2014/main" id="{59D87852-F834-409C-B191-0E3DB7829DDA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DF0FC44-919D-4D5C-BEDE-797DF9691A1F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2253D34-D437-45DF-84B9-D1CE60A1D188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40F4A8E-A03D-44B8-8474-1E1C3A2C5F7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FE8BD5B-94B5-4CAD-BE37-5FE1AD4E054A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B76B74-3ECE-4814-94B0-D91AF2A16645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3F50BF5-3D0F-4E32-9548-2354410572D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7BE7FA7-6CA4-4917-9C43-7B3C45C3A74D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EF1529-5969-4764-ADDC-55D2BEFAA9E0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82530C-BFF7-4FFE-89DD-F04656417F4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C00ED5B-069D-4629-9913-B89C79468A99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0DE64EC-1D8A-4A18-AA0D-966EA50380E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DD7AA4-96EE-4BE7-9AA6-FA06015C4658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FFBFE74-5BE0-4D88-9236-1490CB17271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920FB49-B53C-4555-9E94-A490506760C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C284678-601C-4037-8C9A-B5312F4A0C7A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C680057-9F14-40E7-A752-ED40510F485F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13A42F-A8E7-44E3-BB4A-7C763B911329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E738A0-7E88-4E9C-B9B3-96C293DE9CE9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EAB8D02-ECE2-4190-8241-1DF731560355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6C8C16D-3A30-4ADF-A1E1-5E5668E7D70F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58191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5"/>
            <a:ext cx="8569325" cy="3960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0" name="Graphic 19">
            <a:extLst>
              <a:ext uri="{FF2B5EF4-FFF2-40B4-BE49-F238E27FC236}">
                <a16:creationId xmlns:a16="http://schemas.microsoft.com/office/drawing/2014/main" id="{59D87852-F834-409C-B191-0E3DB7829DDA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DF0FC44-919D-4D5C-BEDE-797DF9691A1F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2253D34-D437-45DF-84B9-D1CE60A1D188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40F4A8E-A03D-44B8-8474-1E1C3A2C5F7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FE8BD5B-94B5-4CAD-BE37-5FE1AD4E054A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B76B74-3ECE-4814-94B0-D91AF2A16645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3F50BF5-3D0F-4E32-9548-2354410572D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7BE7FA7-6CA4-4917-9C43-7B3C45C3A74D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EF1529-5969-4764-ADDC-55D2BEFAA9E0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82530C-BFF7-4FFE-89DD-F04656417F4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C00ED5B-069D-4629-9913-B89C79468A99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0DE64EC-1D8A-4A18-AA0D-966EA50380E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DD7AA4-96EE-4BE7-9AA6-FA06015C4658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FFBFE74-5BE0-4D88-9236-1490CB17271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920FB49-B53C-4555-9E94-A490506760C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C284678-601C-4037-8C9A-B5312F4A0C7A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C680057-9F14-40E7-A752-ED40510F485F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13A42F-A8E7-44E3-BB4A-7C763B911329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E738A0-7E88-4E9C-B9B3-96C293DE9CE9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EAB8D02-ECE2-4190-8241-1DF731560355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6C8C16D-3A30-4ADF-A1E1-5E5668E7D70F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2" name="Subtitle 2">
            <a:extLst>
              <a:ext uri="{FF2B5EF4-FFF2-40B4-BE49-F238E27FC236}">
                <a16:creationId xmlns:a16="http://schemas.microsoft.com/office/drawing/2014/main" id="{8F3246DC-C5BF-4123-BA49-B14EF33A4FF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87337" y="735013"/>
            <a:ext cx="8569325" cy="252412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133593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021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156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Logo">
            <a:extLst>
              <a:ext uri="{FF2B5EF4-FFF2-40B4-BE49-F238E27FC236}">
                <a16:creationId xmlns:a16="http://schemas.microsoft.com/office/drawing/2014/main" id="{E1AED2E5-EACC-4379-8B86-BDCC33C41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71125" y="4482250"/>
            <a:ext cx="1535077" cy="256610"/>
            <a:chOff x="301852" y="4913727"/>
            <a:chExt cx="487916" cy="81562"/>
          </a:xfrm>
          <a:solidFill>
            <a:schemeClr val="bg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C7D6CCA3-D98F-4E8C-B9B8-253423212EE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1" y="231776"/>
            <a:ext cx="4104000" cy="2583344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466A57BE-C742-4942-BC2C-5CCB046B10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1" y="2933271"/>
            <a:ext cx="4104000" cy="1008000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sub title</a:t>
            </a:r>
            <a:endParaRPr lang="en-GB" dirty="0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D784ED6D-55C4-43AE-897A-8020AD869C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958761"/>
            <a:ext cx="4104000" cy="36512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EACBBB"/>
                </a:solidFill>
              </a:defRPr>
            </a:lvl1pPr>
            <a:lvl2pPr marL="179388" indent="0">
              <a:buNone/>
              <a:defRPr/>
            </a:lvl2pPr>
            <a:lvl3pPr marL="360362" indent="0">
              <a:buNone/>
              <a:defRPr/>
            </a:lvl3pPr>
            <a:lvl4pPr marL="539750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GB" dirty="0"/>
              <a:t>Click to add date and/or presenters name</a:t>
            </a:r>
          </a:p>
        </p:txBody>
      </p:sp>
      <p:sp>
        <p:nvSpPr>
          <p:cNvPr id="39" name="Dots">
            <a:extLst>
              <a:ext uri="{FF2B5EF4-FFF2-40B4-BE49-F238E27FC236}">
                <a16:creationId xmlns:a16="http://schemas.microsoft.com/office/drawing/2014/main" id="{7E284916-3830-4B2D-96DE-5DDABBF929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tx2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950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1 and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5"/>
            <a:ext cx="8569325" cy="3960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aphic 19">
            <a:extLst>
              <a:ext uri="{FF2B5EF4-FFF2-40B4-BE49-F238E27FC236}">
                <a16:creationId xmlns:a16="http://schemas.microsoft.com/office/drawing/2014/main" id="{59D87852-F834-409C-B191-0E3DB7829D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DF0FC44-919D-4D5C-BEDE-797DF9691A1F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2253D34-D437-45DF-84B9-D1CE60A1D188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40F4A8E-A03D-44B8-8474-1E1C3A2C5F7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FE8BD5B-94B5-4CAD-BE37-5FE1AD4E054A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B76B74-3ECE-4814-94B0-D91AF2A16645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3F50BF5-3D0F-4E32-9548-2354410572D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7BE7FA7-6CA4-4917-9C43-7B3C45C3A74D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EF1529-5969-4764-ADDC-55D2BEFAA9E0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82530C-BFF7-4FFE-89DD-F04656417F4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C00ED5B-069D-4629-9913-B89C79468A99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0DE64EC-1D8A-4A18-AA0D-966EA50380E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DD7AA4-96EE-4BE7-9AA6-FA06015C4658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FFBFE74-5BE0-4D88-9236-1490CB17271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920FB49-B53C-4555-9E94-A490506760C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C284678-601C-4037-8C9A-B5312F4A0C7A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C680057-9F14-40E7-A752-ED40510F485F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13A42F-A8E7-44E3-BB4A-7C763B911329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E738A0-7E88-4E9C-B9B3-96C293DE9CE9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EAB8D02-ECE2-4190-8241-1DF731560355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6C8C16D-3A30-4ADF-A1E1-5E5668E7D70F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2" name="Subtitle 2">
            <a:extLst>
              <a:ext uri="{FF2B5EF4-FFF2-40B4-BE49-F238E27FC236}">
                <a16:creationId xmlns:a16="http://schemas.microsoft.com/office/drawing/2014/main" id="{8F3246DC-C5BF-4123-BA49-B14EF33A4FF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87337" y="735013"/>
            <a:ext cx="8569325" cy="252412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8515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396000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B2EFC80-19D6-4D40-8BBD-10FBF9FB383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87337" y="735013"/>
            <a:ext cx="8569325" cy="252412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79511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7">
    <p:bg>
      <p:bgPr>
        <a:solidFill>
          <a:schemeClr val="accent3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836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8">
    <p:bg>
      <p:bgPr>
        <a:solidFill>
          <a:schemeClr val="accent3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582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9">
    <p:bg>
      <p:bgPr>
        <a:solidFill>
          <a:schemeClr val="accent3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396000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36B8BE9-BB36-4A36-9F26-11708C686D0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87337" y="735013"/>
            <a:ext cx="8569325" cy="252412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8948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4"/>
            <a:ext cx="7524750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7338" y="1384301"/>
            <a:ext cx="75247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305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4"/>
            <a:ext cx="7524750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7338" y="1384301"/>
            <a:ext cx="75247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265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4"/>
            <a:ext cx="7524750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7338" y="1384301"/>
            <a:ext cx="36004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AFA2D52-E665-4CA4-A88B-1E264F26A5C2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217203" y="1384301"/>
            <a:ext cx="36004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7151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4"/>
            <a:ext cx="7524750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7338" y="1384301"/>
            <a:ext cx="36004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AFA2D52-E665-4CA4-A88B-1E264F26A5C2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217203" y="1384301"/>
            <a:ext cx="36004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6137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4"/>
            <a:ext cx="7524750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8FD492-2D24-4BF8-AE54-A527D3C947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338" y="1384300"/>
            <a:ext cx="3600450" cy="3240088"/>
          </a:xfrm>
        </p:spPr>
        <p:txBody>
          <a:bodyPr/>
          <a:lstStyle>
            <a:lvl1pPr marL="0" indent="0">
              <a:buNone/>
              <a:defRPr/>
            </a:lvl1pPr>
            <a:lvl2pPr marL="179388" indent="0">
              <a:buNone/>
              <a:defRPr/>
            </a:lvl2pPr>
            <a:lvl3pPr marL="360362" indent="0">
              <a:buNone/>
              <a:defRPr/>
            </a:lvl3pPr>
            <a:lvl4pPr marL="539750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6024D76-B1AD-4C6E-B1D2-9BADC8ED8B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11638" y="1384300"/>
            <a:ext cx="3600450" cy="3240088"/>
          </a:xfrm>
        </p:spPr>
        <p:txBody>
          <a:bodyPr/>
          <a:lstStyle>
            <a:lvl1pPr marL="0" indent="0">
              <a:buNone/>
              <a:defRPr/>
            </a:lvl1pPr>
            <a:lvl2pPr marL="179388" indent="0">
              <a:buNone/>
              <a:defRPr/>
            </a:lvl2pPr>
            <a:lvl3pPr marL="360362" indent="0">
              <a:buNone/>
              <a:defRPr/>
            </a:lvl3pPr>
            <a:lvl4pPr marL="539750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0970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2">
    <p:bg>
      <p:bgPr>
        <a:solidFill>
          <a:schemeClr val="accent3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4"/>
            <a:ext cx="7524750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8FD492-2D24-4BF8-AE54-A527D3C947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338" y="1384300"/>
            <a:ext cx="3600450" cy="3240088"/>
          </a:xfrm>
        </p:spPr>
        <p:txBody>
          <a:bodyPr/>
          <a:lstStyle>
            <a:lvl1pPr marL="0" indent="0">
              <a:buNone/>
              <a:defRPr/>
            </a:lvl1pPr>
            <a:lvl2pPr marL="179388" indent="0">
              <a:buNone/>
              <a:defRPr/>
            </a:lvl2pPr>
            <a:lvl3pPr marL="360362" indent="0">
              <a:buNone/>
              <a:defRPr/>
            </a:lvl3pPr>
            <a:lvl4pPr marL="539750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6024D76-B1AD-4C6E-B1D2-9BADC8ED8B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11638" y="1384300"/>
            <a:ext cx="3600450" cy="3240088"/>
          </a:xfrm>
        </p:spPr>
        <p:txBody>
          <a:bodyPr/>
          <a:lstStyle>
            <a:lvl1pPr marL="0" indent="0">
              <a:buNone/>
              <a:defRPr/>
            </a:lvl1pPr>
            <a:lvl2pPr marL="179388" indent="0">
              <a:buNone/>
              <a:defRPr/>
            </a:lvl2pPr>
            <a:lvl3pPr marL="360362" indent="0">
              <a:buNone/>
              <a:defRPr/>
            </a:lvl3pPr>
            <a:lvl4pPr marL="539750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1793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5124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96702BE-8DDA-4141-820E-8AEE85BB00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1384300"/>
            <a:ext cx="2736850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26E9252-67B5-44BC-914E-DC52F84651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03574" y="1384300"/>
            <a:ext cx="2736850" cy="3252702"/>
          </a:xfrm>
        </p:spPr>
        <p:txBody>
          <a:bodyPr/>
          <a:lstStyle>
            <a:lvl1pPr marL="0" indent="0">
              <a:buNone/>
              <a:defRPr sz="1100"/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1D028AD5-C27D-4A54-B587-543EDEDCE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19813" y="1384300"/>
            <a:ext cx="2736850" cy="3252702"/>
          </a:xfrm>
        </p:spPr>
        <p:txBody>
          <a:bodyPr/>
          <a:lstStyle>
            <a:lvl1pPr marL="0" indent="0">
              <a:buNone/>
              <a:defRPr sz="1100"/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3288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05">
          <p15:clr>
            <a:srgbClr val="FBAE40"/>
          </p15:clr>
        </p15:guide>
        <p15:guide id="2" pos="2018">
          <p15:clr>
            <a:srgbClr val="FBAE40"/>
          </p15:clr>
        </p15:guide>
        <p15:guide id="3" pos="3742">
          <p15:clr>
            <a:srgbClr val="FBAE40"/>
          </p15:clr>
        </p15:guide>
        <p15:guide id="4" pos="3855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CFFCB23-D261-4EEF-AB85-1BD6EF09DF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1384300"/>
            <a:ext cx="1998662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FC5C668-368E-4EE4-B072-C1F003E769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76500" y="1384300"/>
            <a:ext cx="1998662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86C8A71D-B40E-4849-81A7-D752EF5F8A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65662" y="1384300"/>
            <a:ext cx="1998662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B3C3DE41-C5A2-47F0-8966-C5CF80B1A4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58001" y="1384300"/>
            <a:ext cx="1998662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3836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4320">
          <p15:clr>
            <a:srgbClr val="FBAE40"/>
          </p15:clr>
        </p15:guide>
        <p15:guide id="5" pos="1560">
          <p15:clr>
            <a:srgbClr val="FBAE40"/>
          </p15:clr>
        </p15:guide>
        <p15:guide id="6" pos="2822">
          <p15:clr>
            <a:srgbClr val="FBAE40"/>
          </p15:clr>
        </p15:guide>
        <p15:guide id="7" pos="2941">
          <p15:clr>
            <a:srgbClr val="FBAE40"/>
          </p15:clr>
        </p15:guide>
        <p15:guide id="8" pos="4204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DB37055-18D0-4167-842A-28E3217E49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338" y="1384300"/>
            <a:ext cx="1566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3" indent="0">
              <a:buNone/>
              <a:defRPr sz="800"/>
            </a:lvl2pPr>
            <a:lvl3pPr marL="179387" indent="0">
              <a:buNone/>
              <a:defRPr sz="800"/>
            </a:lvl3pPr>
            <a:lvl4pPr marL="266700" indent="0">
              <a:buNone/>
              <a:defRPr sz="800"/>
            </a:lvl4pPr>
            <a:lvl5pPr marL="360362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0AD3BE6F-9CAC-42E3-9FDB-BB76C5757B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034450" y="1384300"/>
            <a:ext cx="1566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3" indent="0">
              <a:buNone/>
              <a:defRPr sz="800"/>
            </a:lvl2pPr>
            <a:lvl3pPr marL="179387" indent="0">
              <a:buNone/>
              <a:defRPr sz="800"/>
            </a:lvl3pPr>
            <a:lvl4pPr marL="266700" indent="0">
              <a:buNone/>
              <a:defRPr sz="800"/>
            </a:lvl4pPr>
            <a:lvl5pPr marL="360362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E5DF87C-1B84-491A-8BE0-03F3EBFD02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88999" y="1384300"/>
            <a:ext cx="1566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3" indent="0">
              <a:buNone/>
              <a:defRPr sz="800"/>
            </a:lvl2pPr>
            <a:lvl3pPr marL="179387" indent="0">
              <a:buNone/>
              <a:defRPr sz="800"/>
            </a:lvl3pPr>
            <a:lvl4pPr marL="266700" indent="0">
              <a:buNone/>
              <a:defRPr sz="800"/>
            </a:lvl4pPr>
            <a:lvl5pPr marL="360362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5647C692-E63D-49B1-87FE-EBCEE07743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44413" y="1384300"/>
            <a:ext cx="1566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3" indent="0">
              <a:buNone/>
              <a:defRPr sz="800"/>
            </a:lvl2pPr>
            <a:lvl3pPr marL="179387" indent="0">
              <a:buNone/>
              <a:defRPr sz="800"/>
            </a:lvl3pPr>
            <a:lvl4pPr marL="266700" indent="0">
              <a:buNone/>
              <a:defRPr sz="800"/>
            </a:lvl4pPr>
            <a:lvl5pPr marL="360362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93A47FA5-323D-4520-BD12-CAE3891837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290663" y="1384300"/>
            <a:ext cx="1566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3" indent="0">
              <a:buNone/>
              <a:defRPr sz="800"/>
            </a:lvl2pPr>
            <a:lvl3pPr marL="179387" indent="0">
              <a:buNone/>
              <a:defRPr sz="800"/>
            </a:lvl3pPr>
            <a:lvl4pPr marL="266700" indent="0">
              <a:buNone/>
              <a:defRPr sz="800"/>
            </a:lvl4pPr>
            <a:lvl5pPr marL="360362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538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68">
          <p15:clr>
            <a:srgbClr val="FBAE40"/>
          </p15:clr>
        </p15:guide>
        <p15:guide id="4" pos="4479">
          <p15:clr>
            <a:srgbClr val="FBAE40"/>
          </p15:clr>
        </p15:guide>
        <p15:guide id="5" pos="1281">
          <p15:clr>
            <a:srgbClr val="FBAE40"/>
          </p15:clr>
        </p15:guide>
        <p15:guide id="6" pos="2268">
          <p15:clr>
            <a:srgbClr val="FBAE40"/>
          </p15:clr>
        </p15:guide>
        <p15:guide id="7" pos="2381">
          <p15:clr>
            <a:srgbClr val="FBAE40"/>
          </p15:clr>
        </p15:guide>
        <p15:guide id="8" pos="4589">
          <p15:clr>
            <a:srgbClr val="FBAE40"/>
          </p15:clr>
        </p15:guide>
        <p15:guide id="9" pos="3379">
          <p15:clr>
            <a:srgbClr val="FBAE40"/>
          </p15:clr>
        </p15:guide>
        <p15:guide id="10" pos="3492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DB37055-18D0-4167-842A-28E3217E49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338" y="1384300"/>
            <a:ext cx="1278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3" indent="0">
              <a:buNone/>
              <a:defRPr sz="800"/>
            </a:lvl2pPr>
            <a:lvl3pPr marL="179387" indent="0">
              <a:buNone/>
              <a:defRPr sz="800"/>
            </a:lvl3pPr>
            <a:lvl4pPr marL="266700" indent="0">
              <a:buNone/>
              <a:defRPr sz="800"/>
            </a:lvl4pPr>
            <a:lvl5pPr marL="360362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0AD3BE6F-9CAC-42E3-9FDB-BB76C5757B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45014" y="1384300"/>
            <a:ext cx="1278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3" indent="0">
              <a:buNone/>
              <a:defRPr sz="800"/>
            </a:lvl2pPr>
            <a:lvl3pPr marL="179387" indent="0">
              <a:buNone/>
              <a:defRPr sz="800"/>
            </a:lvl3pPr>
            <a:lvl4pPr marL="266700" indent="0">
              <a:buNone/>
              <a:defRPr sz="800"/>
            </a:lvl4pPr>
            <a:lvl5pPr marL="360362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E5DF87C-1B84-491A-8BE0-03F3EBFD02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02690" y="1384300"/>
            <a:ext cx="1278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3" indent="0">
              <a:buNone/>
              <a:defRPr sz="800"/>
            </a:lvl2pPr>
            <a:lvl3pPr marL="179387" indent="0">
              <a:buNone/>
              <a:defRPr sz="800"/>
            </a:lvl3pPr>
            <a:lvl4pPr marL="266700" indent="0">
              <a:buNone/>
              <a:defRPr sz="800"/>
            </a:lvl4pPr>
            <a:lvl5pPr marL="360362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5647C692-E63D-49B1-87FE-EBCEE07743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60366" y="1384300"/>
            <a:ext cx="1278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3" indent="0">
              <a:buNone/>
              <a:defRPr sz="800"/>
            </a:lvl2pPr>
            <a:lvl3pPr marL="179387" indent="0">
              <a:buNone/>
              <a:defRPr sz="800"/>
            </a:lvl3pPr>
            <a:lvl4pPr marL="266700" indent="0">
              <a:buNone/>
              <a:defRPr sz="800"/>
            </a:lvl4pPr>
            <a:lvl5pPr marL="360362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93A47FA5-323D-4520-BD12-CAE3891837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18042" y="1384300"/>
            <a:ext cx="1279472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3" indent="0">
              <a:buNone/>
              <a:defRPr sz="800"/>
            </a:lvl2pPr>
            <a:lvl3pPr marL="179387" indent="0">
              <a:buNone/>
              <a:defRPr sz="800"/>
            </a:lvl3pPr>
            <a:lvl4pPr marL="266700" indent="0">
              <a:buNone/>
              <a:defRPr sz="800"/>
            </a:lvl4pPr>
            <a:lvl5pPr marL="360362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5F8C725A-89A3-4153-BB30-F09829AE080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577190" y="1384300"/>
            <a:ext cx="1279472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3" indent="0">
              <a:buNone/>
              <a:defRPr sz="800"/>
            </a:lvl2pPr>
            <a:lvl3pPr marL="179387" indent="0">
              <a:buNone/>
              <a:defRPr sz="800"/>
            </a:lvl3pPr>
            <a:lvl4pPr marL="266700" indent="0">
              <a:buNone/>
              <a:defRPr sz="800"/>
            </a:lvl4pPr>
            <a:lvl5pPr marL="360362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61745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87">
          <p15:clr>
            <a:srgbClr val="FBAE40"/>
          </p15:clr>
        </p15:guide>
        <p15:guide id="4" pos="3742">
          <p15:clr>
            <a:srgbClr val="FBAE40"/>
          </p15:clr>
        </p15:guide>
        <p15:guide id="5" pos="1097">
          <p15:clr>
            <a:srgbClr val="FBAE40"/>
          </p15:clr>
        </p15:guide>
        <p15:guide id="6" pos="1906">
          <p15:clr>
            <a:srgbClr val="FBAE40"/>
          </p15:clr>
        </p15:guide>
        <p15:guide id="7" pos="2016">
          <p15:clr>
            <a:srgbClr val="FBAE40"/>
          </p15:clr>
        </p15:guide>
        <p15:guide id="8" pos="4660">
          <p15:clr>
            <a:srgbClr val="FBAE40"/>
          </p15:clr>
        </p15:guide>
        <p15:guide id="9" pos="2825">
          <p15:clr>
            <a:srgbClr val="FBAE40"/>
          </p15:clr>
        </p15:guide>
        <p15:guide id="10" pos="2935">
          <p15:clr>
            <a:srgbClr val="FBAE40"/>
          </p15:clr>
        </p15:guide>
        <p15:guide id="11" pos="4770">
          <p15:clr>
            <a:srgbClr val="FBAE40"/>
          </p15:clr>
        </p15:guide>
        <p15:guide id="12" pos="3855">
          <p15:clr>
            <a:srgbClr val="FBAE4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and tex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9B8376A-3F2F-4D41-BC8B-1C257493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endParaRPr lang="en-US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4C88DCC-E2CF-4C92-BB09-0F1056975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8" y="2938409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D58F12-3A40-4AD6-B65A-AAC2F3E79D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7338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A68EE013-AE2A-4248-8BCF-2E64E6BABDD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478281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11CE9E7-F377-4DD8-A11A-DDDEDEC0BC6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69224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C5781105-3433-4B25-8A2C-71205B96E3F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860166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E390B699-9829-4C4D-9271-54B5879B36A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8281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endParaRPr lang="en-US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63A6803F-D4D2-4ED2-A99D-780C639CA5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78281" y="2938409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14BB3F-0B6E-49DE-98D5-69F9B40A1CC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69224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endParaRPr lang="en-US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FE678802-AB38-4C6E-AE7F-BDD84189529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69224" y="2938409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92B200A8-A390-4184-A558-D2CFC7EE0D3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60166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endParaRPr lang="en-US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A3730497-CA66-4CCE-9128-3C544C7579B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860166" y="2938409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012618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1560">
          <p15:clr>
            <a:srgbClr val="FBAE40"/>
          </p15:clr>
        </p15:guide>
        <p15:guide id="5" pos="2822">
          <p15:clr>
            <a:srgbClr val="FBAE40"/>
          </p15:clr>
        </p15:guide>
        <p15:guide id="6" pos="2938">
          <p15:clr>
            <a:srgbClr val="FBAE40"/>
          </p15:clr>
        </p15:guide>
        <p15:guide id="7" pos="4200">
          <p15:clr>
            <a:srgbClr val="FBAE40"/>
          </p15:clr>
        </p15:guide>
        <p15:guide id="8" pos="4320">
          <p15:clr>
            <a:srgbClr val="FBAE4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and text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9B8376A-3F2F-4D41-BC8B-1C257493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endParaRPr lang="en-US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4C88DCC-E2CF-4C92-BB09-0F1056975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8" y="2938409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bg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D58F12-3A40-4AD6-B65A-AAC2F3E79D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7338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A68EE013-AE2A-4248-8BCF-2E64E6BABDD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478281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11CE9E7-F377-4DD8-A11A-DDDEDEC0BC6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69224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C5781105-3433-4B25-8A2C-71205B96E3F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860166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E390B699-9829-4C4D-9271-54B5879B36A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8281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endParaRPr lang="en-US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63A6803F-D4D2-4ED2-A99D-780C639CA5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78281" y="2938409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bg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14BB3F-0B6E-49DE-98D5-69F9B40A1CC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69224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endParaRPr lang="en-US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FE678802-AB38-4C6E-AE7F-BDD84189529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69224" y="2938409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bg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92B200A8-A390-4184-A558-D2CFC7EE0D3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60166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endParaRPr lang="en-US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B535D04-089D-4C0C-B8F6-D5DF48A1F41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860166" y="2938409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bg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8339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1560">
          <p15:clr>
            <a:srgbClr val="FBAE40"/>
          </p15:clr>
        </p15:guide>
        <p15:guide id="5" pos="2822">
          <p15:clr>
            <a:srgbClr val="FBAE40"/>
          </p15:clr>
        </p15:guide>
        <p15:guide id="6" pos="2938">
          <p15:clr>
            <a:srgbClr val="FBAE40"/>
          </p15:clr>
        </p15:guide>
        <p15:guide id="7" pos="4200">
          <p15:clr>
            <a:srgbClr val="FBAE40"/>
          </p15:clr>
        </p15:guide>
        <p15:guide id="8" pos="4320">
          <p15:clr>
            <a:srgbClr val="FBAE4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tex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9B8376A-3F2F-4D41-BC8B-1C257493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7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4C88DCC-E2CF-4C92-BB09-0F1056975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7" y="2938409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D58F12-3A40-4AD6-B65A-AAC2F3E79D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7338" y="146406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2EE733A6-DEFC-4650-AE8D-E0D5B5C822C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742126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0ECACEAF-4E8A-409F-A96A-C0ECA46B888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196914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706FA668-9394-42F3-85C8-613D5085530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651702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70A1D5F1-0CEC-4928-BDB1-6C2DDC0D3FD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106490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A212763A-D03F-49D4-91C6-ECC7A02C98EA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561277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5D4BA8B6-B69C-4AC9-8D15-DD18D74DB2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45602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5E3F21CB-3D54-489B-9A30-3A854B8F196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203867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1DA71580-ECB2-4D09-8897-C50E57D035C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62132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6B150BEA-75D4-4BD8-A296-50A0131D4DB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120397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2F7F8C6F-C4E5-4F61-83A3-6E5BA86DC75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78663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CF887BEC-8696-44FA-AAEB-11CDA42F6C8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744120" y="2938409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6778262D-D493-48E0-BD79-6361B86EC9B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00903" y="2938409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1BD87ADC-1E7C-4187-A8A9-9112E6E2AC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657686" y="2938409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35001C77-91F2-4B03-8C37-FB1467681A8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14469" y="2938409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138A40E3-EB52-48DE-8ADF-840BA50D192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571254" y="2938409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30553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1560">
          <p15:clr>
            <a:srgbClr val="FBAE40"/>
          </p15:clr>
        </p15:guide>
        <p15:guide id="5" pos="2822">
          <p15:clr>
            <a:srgbClr val="FBAE40"/>
          </p15:clr>
        </p15:guide>
        <p15:guide id="6" pos="2938">
          <p15:clr>
            <a:srgbClr val="FBAE40"/>
          </p15:clr>
        </p15:guide>
        <p15:guide id="7" pos="4200">
          <p15:clr>
            <a:srgbClr val="FBAE40"/>
          </p15:clr>
        </p15:guide>
        <p15:guide id="8" pos="4320">
          <p15:clr>
            <a:srgbClr val="FBAE40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text 2">
    <p:bg>
      <p:bgPr>
        <a:solidFill>
          <a:schemeClr val="accent3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4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9B8376A-3F2F-4D41-BC8B-1C257493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4C88DCC-E2CF-4C92-BB09-0F1056975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7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D58F12-3A40-4AD6-B65A-AAC2F3E79D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7338" y="146406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2EE733A6-DEFC-4650-AE8D-E0D5B5C822C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742126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0ECACEAF-4E8A-409F-A96A-C0ECA46B888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196914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706FA668-9394-42F3-85C8-613D5085530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651702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70A1D5F1-0CEC-4928-BDB1-6C2DDC0D3FD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106490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A212763A-D03F-49D4-91C6-ECC7A02C98EA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561277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5D4BA8B6-B69C-4AC9-8D15-DD18D74DB2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45602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5E3F21CB-3D54-489B-9A30-3A854B8F196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20386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1DA71580-ECB2-4D09-8897-C50E57D035C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62132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6B150BEA-75D4-4BD8-A296-50A0131D4DB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12039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2F7F8C6F-C4E5-4F61-83A3-6E5BA86DC75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78663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CF887BEC-8696-44FA-AAEB-11CDA42F6C8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744120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6778262D-D493-48E0-BD79-6361B86EC9B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00903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1BD87ADC-1E7C-4187-A8A9-9112E6E2AC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657686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35001C77-91F2-4B03-8C37-FB1467681A8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14469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138A40E3-EB52-48DE-8ADF-840BA50D192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571254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503677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1560">
          <p15:clr>
            <a:srgbClr val="FBAE40"/>
          </p15:clr>
        </p15:guide>
        <p15:guide id="5" pos="2822">
          <p15:clr>
            <a:srgbClr val="FBAE40"/>
          </p15:clr>
        </p15:guide>
        <p15:guide id="6" pos="2938">
          <p15:clr>
            <a:srgbClr val="FBAE40"/>
          </p15:clr>
        </p15:guide>
        <p15:guide id="7" pos="4200">
          <p15:clr>
            <a:srgbClr val="FBAE40"/>
          </p15:clr>
        </p15:guide>
        <p15:guide id="8" pos="4320">
          <p15:clr>
            <a:srgbClr val="FBAE4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text 3">
    <p:bg>
      <p:bgPr>
        <a:solidFill>
          <a:schemeClr val="accent3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8313A7A-AD91-4ED9-8CF5-6890BC33877C}"/>
              </a:ext>
            </a:extLst>
          </p:cNvPr>
          <p:cNvSpPr/>
          <p:nvPr userDrawn="1"/>
        </p:nvSpPr>
        <p:spPr>
          <a:xfrm>
            <a:off x="0" y="0"/>
            <a:ext cx="9144000" cy="1936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9B8376A-3F2F-4D41-BC8B-1C257493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  <a:p>
            <a:pPr lvl="1"/>
            <a:endParaRPr lang="en-US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4C88DCC-E2CF-4C92-BB09-0F1056975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7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D58F12-3A40-4AD6-B65A-AAC2F3E79D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7338" y="146406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2EE733A6-DEFC-4650-AE8D-E0D5B5C822C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742126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0ECACEAF-4E8A-409F-A96A-C0ECA46B888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196914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706FA668-9394-42F3-85C8-613D5085530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651702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70A1D5F1-0CEC-4928-BDB1-6C2DDC0D3FD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106490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A212763A-D03F-49D4-91C6-ECC7A02C98EA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561277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5D4BA8B6-B69C-4AC9-8D15-DD18D74DB2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45602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5E3F21CB-3D54-489B-9A30-3A854B8F196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20386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1DA71580-ECB2-4D09-8897-C50E57D035C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62132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6B150BEA-75D4-4BD8-A296-50A0131D4DB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12039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2F7F8C6F-C4E5-4F61-83A3-6E5BA86DC75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78663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CF887BEC-8696-44FA-AAEB-11CDA42F6C8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744120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6778262D-D493-48E0-BD79-6361B86EC9B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00903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1BD87ADC-1E7C-4187-A8A9-9112E6E2AC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657686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35001C77-91F2-4B03-8C37-FB1467681A8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14469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138A40E3-EB52-48DE-8ADF-840BA50D192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571254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600414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1560">
          <p15:clr>
            <a:srgbClr val="FBAE40"/>
          </p15:clr>
        </p15:guide>
        <p15:guide id="5" pos="2822">
          <p15:clr>
            <a:srgbClr val="FBAE40"/>
          </p15:clr>
        </p15:guide>
        <p15:guide id="6" pos="2938">
          <p15:clr>
            <a:srgbClr val="FBAE40"/>
          </p15:clr>
        </p15:guide>
        <p15:guide id="7" pos="4200">
          <p15:clr>
            <a:srgbClr val="FBAE40"/>
          </p15:clr>
        </p15:guide>
        <p15:guide id="8" pos="4320">
          <p15:clr>
            <a:srgbClr val="FBAE4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and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C1A66733-51BD-4A1B-A1E1-2EA7AEFEDF6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13418" y="0"/>
            <a:ext cx="3030582" cy="51435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4"/>
            <a:ext cx="5580061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7" y="4875766"/>
            <a:ext cx="1327855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6" y="4875766"/>
            <a:ext cx="316567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86C15EA9-6488-44FD-9697-87CBA3F1898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8" y="1384300"/>
            <a:ext cx="2663825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9853EE3-B235-4C12-856E-DA5CA39C63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03575" y="1384300"/>
            <a:ext cx="2663825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1262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69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and patter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8658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EFD8556-0AB6-4925-BC1F-6A8D224BE8A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203575" y="0"/>
            <a:ext cx="5940425" cy="5143500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5"/>
            <a:ext cx="2663824" cy="1008064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7" y="4875766"/>
            <a:ext cx="1327855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6" y="4875766"/>
            <a:ext cx="316567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1FC4084A-15B9-46BC-968F-A2F45E8851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7338" y="1384300"/>
            <a:ext cx="2663825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7765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696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2EED53-4FAF-470B-BABA-95415FCA0B32}"/>
              </a:ext>
            </a:extLst>
          </p:cNvPr>
          <p:cNvSpPr/>
          <p:nvPr userDrawn="1"/>
        </p:nvSpPr>
        <p:spPr>
          <a:xfrm>
            <a:off x="0" y="0"/>
            <a:ext cx="3203575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4"/>
            <a:ext cx="2663824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7" y="4875766"/>
            <a:ext cx="1327855" cy="129382"/>
          </a:xfrm>
        </p:spPr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6" y="4875766"/>
            <a:ext cx="316567" cy="129382"/>
          </a:xfrm>
        </p:spPr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6EC4B04A-FD2E-440A-B266-DB1890A20B15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BEBEBE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4E67AE1-3A55-4FE3-AFA3-D44BDDE51A76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DDF7F79-ACCF-4E1A-8668-26E488678121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B84DAD-A6E2-4856-A62D-335C50EF1184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7650A64-39E5-4A8B-8C8A-C967473220D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0D8D9B8-112F-4E87-8C53-3E8A9737CAC8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A42C00B-48E5-45D9-8C25-3D9FDFC144D1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6846ED9-346A-4E74-B2C7-E35F271FA7E2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A4A0209-A5B5-4352-AA4A-3EC008E71236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2F71D0-BFBB-44B6-9F79-499711036F57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5386E7E-229C-4AC3-B5BE-E9CF22FEE78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B68B6AE-6454-46C6-821D-20923944E95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10546DE-A37B-4F37-8A23-7BEA4B35C08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5D784D4-ED0C-4B9F-8199-612AB0334EE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06A1E2-3540-412C-96A7-24C8339F5787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5836F61A-C498-4BF3-B126-BBAD79E248A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BA1CDF-7FA8-43EC-B8CB-01A67A5DBA46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FE79733-74E2-4B88-A2C0-8A84B618AE3F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6604E9F-B455-447C-840D-B2E6098341A3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CE3B313-27DB-4FE0-A76F-6254993DF3CC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E40B51F9-0E4E-4B25-9A8D-AB82B7CD8FDA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34D410A3-6262-4104-8421-EEA32224C9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1384300"/>
            <a:ext cx="2663825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ED0B705-AD58-4371-B16B-CE872F23B60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301656" y="737389"/>
            <a:ext cx="3744264" cy="333368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728" b="728"/>
            </a:stretch>
          </a:blip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45870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696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/textboxe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2EED53-4FAF-470B-BABA-95415FCA0B32}"/>
              </a:ext>
            </a:extLst>
          </p:cNvPr>
          <p:cNvSpPr/>
          <p:nvPr userDrawn="1"/>
        </p:nvSpPr>
        <p:spPr>
          <a:xfrm>
            <a:off x="0" y="0"/>
            <a:ext cx="3203575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4"/>
            <a:ext cx="2663824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7" y="4875766"/>
            <a:ext cx="1327855" cy="129382"/>
          </a:xfrm>
        </p:spPr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6" y="4875766"/>
            <a:ext cx="316567" cy="129382"/>
          </a:xfrm>
        </p:spPr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6EC4B04A-FD2E-440A-B266-DB1890A20B15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BEBEBE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4E67AE1-3A55-4FE3-AFA3-D44BDDE51A76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DDF7F79-ACCF-4E1A-8668-26E488678121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B84DAD-A6E2-4856-A62D-335C50EF1184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7650A64-39E5-4A8B-8C8A-C967473220D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0D8D9B8-112F-4E87-8C53-3E8A9737CAC8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A42C00B-48E5-45D9-8C25-3D9FDFC144D1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6846ED9-346A-4E74-B2C7-E35F271FA7E2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A4A0209-A5B5-4352-AA4A-3EC008E71236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2F71D0-BFBB-44B6-9F79-499711036F57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5386E7E-229C-4AC3-B5BE-E9CF22FEE78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B68B6AE-6454-46C6-821D-20923944E95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10546DE-A37B-4F37-8A23-7BEA4B35C08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5D784D4-ED0C-4B9F-8199-612AB0334EE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06A1E2-3540-412C-96A7-24C8339F5787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5836F61A-C498-4BF3-B126-BBAD79E248A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BA1CDF-7FA8-43EC-B8CB-01A67A5DBA46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FE79733-74E2-4B88-A2C0-8A84B618AE3F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6604E9F-B455-447C-840D-B2E6098341A3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CE3B313-27DB-4FE0-A76F-6254993DF3CC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E40B51F9-0E4E-4B25-9A8D-AB82B7CD8FDA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34D410A3-6262-4104-8421-EEA32224C99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1384300"/>
            <a:ext cx="2663825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ED0B705-AD58-4371-B16B-CE872F23B60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238046" y="1166759"/>
            <a:ext cx="877538" cy="781310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91CD0FB5-E4FD-4E34-9502-77B6475DA32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38046" y="2120916"/>
            <a:ext cx="877538" cy="781310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F7DDAB31-986C-40A8-9C1D-E66196707E3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238046" y="3075073"/>
            <a:ext cx="877538" cy="781310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ED74DBC9-5F8C-482F-B8EC-528AE7B206B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04211" y="1166759"/>
            <a:ext cx="3652452" cy="781310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179388" indent="0">
              <a:buNone/>
              <a:defRPr sz="1100">
                <a:solidFill>
                  <a:schemeClr val="bg1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4526E8DE-9F24-429B-97B3-00129BD207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04211" y="2120916"/>
            <a:ext cx="3652452" cy="781310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179388" indent="0">
              <a:buNone/>
              <a:defRPr sz="1100">
                <a:solidFill>
                  <a:schemeClr val="bg1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6980C8EB-C6DC-4B20-952E-C374410D186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04211" y="3075073"/>
            <a:ext cx="3652452" cy="781310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179388" indent="0">
              <a:buNone/>
              <a:defRPr sz="1100">
                <a:solidFill>
                  <a:schemeClr val="bg1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296106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696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bg>
      <p:bgPr>
        <a:solidFill>
          <a:schemeClr val="accent3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90CF30B-0460-4090-8253-4C0C66AF2BC8}"/>
              </a:ext>
            </a:extLst>
          </p:cNvPr>
          <p:cNvSpPr/>
          <p:nvPr userDrawn="1"/>
        </p:nvSpPr>
        <p:spPr>
          <a:xfrm>
            <a:off x="0" y="0"/>
            <a:ext cx="3203575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4"/>
            <a:ext cx="2663824" cy="1008064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7" y="4875766"/>
            <a:ext cx="1327855" cy="129382"/>
          </a:xfrm>
        </p:spPr>
        <p:txBody>
          <a:bodyPr/>
          <a:lstStyle>
            <a:lvl1pPr>
              <a:defRPr>
                <a:solidFill>
                  <a:srgbClr val="A9A9A9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6" y="4875766"/>
            <a:ext cx="316567" cy="129382"/>
          </a:xfrm>
        </p:spPr>
        <p:txBody>
          <a:bodyPr/>
          <a:lstStyle>
            <a:lvl1pPr>
              <a:defRPr>
                <a:solidFill>
                  <a:srgbClr val="A9A9A9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2135EBB7-89A2-462D-8F90-9B79ED46DCA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BEBEBE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FCE5AD2-C0B6-4416-8377-C3F33413204D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6495CA5-5589-4B2B-98FB-D20F392F574D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2252530-7889-4BA8-831A-58B2276F173D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AFEE500-4CD8-40CF-AB55-7E7F80EC6513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A17C36B-8CE7-4ECB-A0B5-E528AD02774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E66A775-32E8-41CB-90F0-5C4576F39F11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38384A2-15B4-4BDE-8BE0-77541982E332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A87B1E7-E372-44CB-973A-519D64CAD6F7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C3A118D-41E8-4B95-A78E-85F79ECB7707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961566C-4B79-4974-A51E-FC5CCE1B625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ED51D0D-C996-4EE9-B171-AD29F2DE7B9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3FC1AA2-5191-46F5-AB4E-A9D20CD38578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96860F0-A49A-4285-B37A-503ECD985D00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BE11755-AF30-4D54-BF20-F853D417C577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189726A-4322-4ABC-A42A-685C0655ABD9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106B221-15F6-479D-BFA6-3915FE60FFD6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21E8CBF-44DC-42F6-8736-FF558A5B9D4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E4AC2BA-2471-4EDF-A746-20381B89DBE7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BFA87CC-878C-4AF8-8560-B98D25B8FCB1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0171221-5F88-475A-BA07-A22812E05880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9FDFBFB1-B9E7-4A32-A990-00F6849ACC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1384300"/>
            <a:ext cx="2663824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99B0955-4799-4906-A566-C24D9C3A04F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455988" y="231775"/>
            <a:ext cx="5400675" cy="4392613"/>
          </a:xfrm>
        </p:spPr>
        <p:txBody>
          <a:bodyPr/>
          <a:lstStyle>
            <a:lvl1pPr marL="0" indent="0">
              <a:buNone/>
              <a:defRPr/>
            </a:lvl1pPr>
            <a:lvl2pPr marL="179388" indent="0">
              <a:buNone/>
              <a:defRPr/>
            </a:lvl2pPr>
          </a:lstStyle>
          <a:p>
            <a:pPr lvl="0"/>
            <a:r>
              <a:rPr lang="en-US"/>
              <a:t>Click to add content for example chart or table</a:t>
            </a:r>
          </a:p>
        </p:txBody>
      </p:sp>
    </p:spTree>
    <p:extLst>
      <p:ext uri="{BB962C8B-B14F-4D97-AF65-F5344CB8AC3E}">
        <p14:creationId xmlns:p14="http://schemas.microsoft.com/office/powerpoint/2010/main" val="291348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696">
          <p15:clr>
            <a:srgbClr val="FBAE40"/>
          </p15:clr>
        </p15:guide>
        <p15:guide id="5" pos="2177">
          <p15:clr>
            <a:srgbClr val="FBAE4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four char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4"/>
            <a:ext cx="8569322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7" y="4875766"/>
            <a:ext cx="1327855" cy="129382"/>
          </a:xfrm>
        </p:spPr>
        <p:txBody>
          <a:bodyPr/>
          <a:lstStyle>
            <a:lvl1pPr>
              <a:defRPr>
                <a:solidFill>
                  <a:srgbClr val="A9A9A9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6" y="4875766"/>
            <a:ext cx="316567" cy="129382"/>
          </a:xfrm>
        </p:spPr>
        <p:txBody>
          <a:bodyPr/>
          <a:lstStyle>
            <a:lvl1pPr>
              <a:defRPr>
                <a:solidFill>
                  <a:srgbClr val="A9A9A9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B9FC45D-54D5-4036-93FE-B8CC03146E43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3203575" y="1387561"/>
            <a:ext cx="2700338" cy="156027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7" name="Chart Placeholder 5">
            <a:extLst>
              <a:ext uri="{FF2B5EF4-FFF2-40B4-BE49-F238E27FC236}">
                <a16:creationId xmlns:a16="http://schemas.microsoft.com/office/drawing/2014/main" id="{4712E5B9-D971-42A0-B7C2-EADDA62014AD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156324" y="1387561"/>
            <a:ext cx="2700338" cy="156027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9" name="Chart Placeholder 5">
            <a:extLst>
              <a:ext uri="{FF2B5EF4-FFF2-40B4-BE49-F238E27FC236}">
                <a16:creationId xmlns:a16="http://schemas.microsoft.com/office/drawing/2014/main" id="{0512725E-F973-4E54-B29A-0CF2150058E6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3203575" y="3068232"/>
            <a:ext cx="2700338" cy="156027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20" name="Chart Placeholder 5">
            <a:extLst>
              <a:ext uri="{FF2B5EF4-FFF2-40B4-BE49-F238E27FC236}">
                <a16:creationId xmlns:a16="http://schemas.microsoft.com/office/drawing/2014/main" id="{BE898CDF-F524-424F-97F4-3286D721F31E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156324" y="3068232"/>
            <a:ext cx="2700338" cy="156027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E401FDBC-1089-4486-B418-A836F55B65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7338" y="1384300"/>
            <a:ext cx="2663825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3511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719">
          <p15:clr>
            <a:srgbClr val="FBAE40"/>
          </p15:clr>
        </p15:guide>
        <p15:guide id="4" pos="3878">
          <p15:clr>
            <a:srgbClr val="FBAE4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slid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0" name="Graphic 19">
            <a:extLst>
              <a:ext uri="{FF2B5EF4-FFF2-40B4-BE49-F238E27FC236}">
                <a16:creationId xmlns:a16="http://schemas.microsoft.com/office/drawing/2014/main" id="{59D87852-F834-409C-B191-0E3DB7829DDA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DF0FC44-919D-4D5C-BEDE-797DF9691A1F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2253D34-D437-45DF-84B9-D1CE60A1D188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40F4A8E-A03D-44B8-8474-1E1C3A2C5F7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FE8BD5B-94B5-4CAD-BE37-5FE1AD4E054A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B76B74-3ECE-4814-94B0-D91AF2A16645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3F50BF5-3D0F-4E32-9548-2354410572D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7BE7FA7-6CA4-4917-9C43-7B3C45C3A74D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EF1529-5969-4764-ADDC-55D2BEFAA9E0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82530C-BFF7-4FFE-89DD-F04656417F4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C00ED5B-069D-4629-9913-B89C79468A99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0DE64EC-1D8A-4A18-AA0D-966EA50380E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DD7AA4-96EE-4BE7-9AA6-FA06015C4658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FFBFE74-5BE0-4D88-9236-1490CB17271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920FB49-B53C-4555-9E94-A490506760C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C284678-601C-4037-8C9A-B5312F4A0C7A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C680057-9F14-40E7-A752-ED40510F485F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13A42F-A8E7-44E3-BB4A-7C763B911329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E738A0-7E88-4E9C-B9B3-96C293DE9CE9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EAB8D02-ECE2-4190-8241-1DF731560355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6C8C16D-3A30-4ADF-A1E1-5E5668E7D70F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73604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663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text boxes">
    <p:bg>
      <p:bgPr>
        <a:solidFill>
          <a:schemeClr val="accent3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DB9D176-43F4-4CF4-9D48-99DC583F1DC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9144000" cy="2664823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779776"/>
            <a:ext cx="2628899" cy="959674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Shor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F4B38B19-CADF-4FC1-9242-DEBCD1E6C247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87337" y="3817825"/>
            <a:ext cx="2628899" cy="80656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E5DF87C-1B84-491A-8BE0-03F3EBFD02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25775" y="2481943"/>
            <a:ext cx="1363345" cy="1755647"/>
          </a:xfrm>
          <a:solidFill>
            <a:schemeClr val="accent3"/>
          </a:solidFill>
        </p:spPr>
        <p:txBody>
          <a:bodyPr lIns="180000" tIns="144000" rIns="180000" bIns="144000">
            <a:normAutofit/>
          </a:bodyPr>
          <a:lstStyle>
            <a:lvl1pPr marL="0" indent="0">
              <a:buNone/>
              <a:defRPr sz="1000"/>
            </a:lvl1pPr>
            <a:lvl2pPr marL="87313" indent="0">
              <a:buNone/>
              <a:defRPr sz="1000"/>
            </a:lvl2pPr>
            <a:lvl3pPr marL="179387" indent="0">
              <a:buNone/>
              <a:defRPr sz="1000"/>
            </a:lvl3pPr>
            <a:lvl4pPr marL="266700" indent="0">
              <a:buNone/>
              <a:defRPr sz="1000"/>
            </a:lvl4pPr>
            <a:lvl5pPr marL="360362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5647C692-E63D-49B1-87FE-EBCEE07743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2486" y="2481943"/>
            <a:ext cx="1363345" cy="1755647"/>
          </a:xfrm>
          <a:solidFill>
            <a:schemeClr val="accent3"/>
          </a:solidFill>
        </p:spPr>
        <p:txBody>
          <a:bodyPr lIns="180000" tIns="144000" rIns="180000" bIns="144000">
            <a:normAutofit/>
          </a:bodyPr>
          <a:lstStyle>
            <a:lvl1pPr marL="0" indent="0">
              <a:buNone/>
              <a:defRPr sz="1000"/>
            </a:lvl1pPr>
            <a:lvl2pPr marL="87313" indent="0">
              <a:buNone/>
              <a:defRPr sz="1000"/>
            </a:lvl2pPr>
            <a:lvl3pPr marL="179387" indent="0">
              <a:buNone/>
              <a:defRPr sz="1000"/>
            </a:lvl3pPr>
            <a:lvl4pPr marL="266700" indent="0">
              <a:buNone/>
              <a:defRPr sz="1000"/>
            </a:lvl4pPr>
            <a:lvl5pPr marL="360362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93A47FA5-323D-4520-BD12-CAE3891837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99197" y="2481943"/>
            <a:ext cx="1363345" cy="1755647"/>
          </a:xfrm>
          <a:solidFill>
            <a:schemeClr val="accent3"/>
          </a:solidFill>
        </p:spPr>
        <p:txBody>
          <a:bodyPr lIns="180000" tIns="144000" rIns="180000" bIns="144000">
            <a:normAutofit/>
          </a:bodyPr>
          <a:lstStyle>
            <a:lvl1pPr marL="0" indent="0">
              <a:buNone/>
              <a:defRPr sz="1000"/>
            </a:lvl1pPr>
            <a:lvl2pPr marL="87313" indent="0">
              <a:buNone/>
              <a:defRPr sz="1000"/>
            </a:lvl2pPr>
            <a:lvl3pPr marL="179387" indent="0">
              <a:buNone/>
              <a:defRPr sz="1000"/>
            </a:lvl3pPr>
            <a:lvl4pPr marL="266700" indent="0">
              <a:buNone/>
              <a:defRPr sz="1000"/>
            </a:lvl4pPr>
            <a:lvl5pPr marL="360362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5F8C725A-89A3-4153-BB30-F09829AE080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485909" y="2481943"/>
            <a:ext cx="1363345" cy="1755647"/>
          </a:xfrm>
          <a:solidFill>
            <a:schemeClr val="accent3"/>
          </a:solidFill>
        </p:spPr>
        <p:txBody>
          <a:bodyPr lIns="180000" tIns="144000" rIns="180000" bIns="144000">
            <a:normAutofit/>
          </a:bodyPr>
          <a:lstStyle>
            <a:lvl1pPr marL="0" indent="0">
              <a:buNone/>
              <a:defRPr sz="1000"/>
            </a:lvl1pPr>
            <a:lvl2pPr marL="87313" indent="0">
              <a:buNone/>
              <a:defRPr sz="1000"/>
            </a:lvl2pPr>
            <a:lvl3pPr marL="179387" indent="0">
              <a:buNone/>
              <a:defRPr sz="1000"/>
            </a:lvl3pPr>
            <a:lvl4pPr marL="266700" indent="0">
              <a:buNone/>
              <a:defRPr sz="1000"/>
            </a:lvl4pPr>
            <a:lvl5pPr marL="360362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7833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703">
          <p15:clr>
            <a:srgbClr val="FBAE40"/>
          </p15:clr>
        </p15:guide>
        <p15:guide id="6" pos="1906">
          <p15:clr>
            <a:srgbClr val="FBAE40"/>
          </p15:clr>
        </p15:guide>
        <p15:guide id="8" pos="4641">
          <p15:clr>
            <a:srgbClr val="FBAE40"/>
          </p15:clr>
        </p15:guide>
        <p15:guide id="9" pos="2765">
          <p15:clr>
            <a:srgbClr val="FBAE40"/>
          </p15:clr>
        </p15:guide>
        <p15:guide id="10" pos="2841">
          <p15:clr>
            <a:srgbClr val="FBAE40"/>
          </p15:clr>
        </p15:guide>
        <p15:guide id="11" pos="4713">
          <p15:clr>
            <a:srgbClr val="FBAE40"/>
          </p15:clr>
        </p15:guide>
        <p15:guide id="12" pos="3779">
          <p15:clr>
            <a:srgbClr val="FBAE40"/>
          </p15:clr>
        </p15:guide>
        <p15:guide id="13" pos="1837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nd picture">
    <p:bg>
      <p:bgPr>
        <a:solidFill>
          <a:schemeClr val="tx2">
            <a:alpha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aphic 19">
            <a:extLst>
              <a:ext uri="{FF2B5EF4-FFF2-40B4-BE49-F238E27FC236}">
                <a16:creationId xmlns:a16="http://schemas.microsoft.com/office/drawing/2014/main" id="{F9A4D9FD-CBA9-40AA-91C5-801F8F4B35E1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E1DCD5"/>
          </a:solidFill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FC5F8EEE-2027-46C3-82D5-D3E0B524B20A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D5E5DA65-E88D-4B8F-BDD0-D371EBFBC062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33BBA3BA-AF69-4109-AA0F-4A6BECA6C90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70480C05-4466-41F2-B953-A8E8FB25A334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4C14D13C-4832-499F-8903-ABB1786FF8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59C48CD1-6002-431D-B38B-08CFDB1A89EA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1B6BBB8E-0F04-4150-97B3-5404F99AFE74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A09964C1-6BBC-4245-B301-D30808802003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6D3991D-A712-44FA-89EB-7BDFB0DB4FE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5C6A05A4-5020-4952-82E3-51EC5D635195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6EC34952-04E0-420A-8BE3-831FB2616BFB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848EA399-3B88-4CA8-9D1A-293A2C3CD3BB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5B2ED039-0F80-4B51-AC5E-256F8FA436D2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A2667AFB-8508-4465-8CA5-6800BBB37E51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5421509-60E5-4A51-A352-5F4A3F8613A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D821F839-D929-4109-AA3A-3155D7A176F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414D6F91-D12D-4D3E-812A-BEBB42E63C46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D715EF96-BBC6-42A2-86B6-AC60005BD88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6900032B-B9B7-4593-AF87-A68F29EB641E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1043F203-4F1E-4B31-AA26-28D0D288B046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59" name="Picture Placeholder 58">
            <a:extLst>
              <a:ext uri="{FF2B5EF4-FFF2-40B4-BE49-F238E27FC236}">
                <a16:creationId xmlns:a16="http://schemas.microsoft.com/office/drawing/2014/main" id="{5AB387F6-333B-46D5-8551-80AE0CFDA72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347256 w 9144000"/>
              <a:gd name="connsiteY0" fmla="*/ 4985347 h 5143500"/>
              <a:gd name="connsiteX1" fmla="*/ 342841 w 9144000"/>
              <a:gd name="connsiteY1" fmla="*/ 4989763 h 5143500"/>
              <a:gd name="connsiteX2" fmla="*/ 347256 w 9144000"/>
              <a:gd name="connsiteY2" fmla="*/ 4994178 h 5143500"/>
              <a:gd name="connsiteX3" fmla="*/ 351671 w 9144000"/>
              <a:gd name="connsiteY3" fmla="*/ 4989762 h 5143500"/>
              <a:gd name="connsiteX4" fmla="*/ 351671 w 9144000"/>
              <a:gd name="connsiteY4" fmla="*/ 4989714 h 5143500"/>
              <a:gd name="connsiteX5" fmla="*/ 347304 w 9144000"/>
              <a:gd name="connsiteY5" fmla="*/ 4985347 h 5143500"/>
              <a:gd name="connsiteX6" fmla="*/ 347256 w 9144000"/>
              <a:gd name="connsiteY6" fmla="*/ 4985347 h 5143500"/>
              <a:gd name="connsiteX7" fmla="*/ 335514 w 9144000"/>
              <a:gd name="connsiteY7" fmla="*/ 4984571 h 5143500"/>
              <a:gd name="connsiteX8" fmla="*/ 330371 w 9144000"/>
              <a:gd name="connsiteY8" fmla="*/ 4989714 h 5143500"/>
              <a:gd name="connsiteX9" fmla="*/ 335514 w 9144000"/>
              <a:gd name="connsiteY9" fmla="*/ 4994857 h 5143500"/>
              <a:gd name="connsiteX10" fmla="*/ 340657 w 9144000"/>
              <a:gd name="connsiteY10" fmla="*/ 4989714 h 5143500"/>
              <a:gd name="connsiteX11" fmla="*/ 335514 w 9144000"/>
              <a:gd name="connsiteY11" fmla="*/ 4984571 h 5143500"/>
              <a:gd name="connsiteX12" fmla="*/ 358998 w 9144000"/>
              <a:gd name="connsiteY12" fmla="*/ 4972829 h 5143500"/>
              <a:gd name="connsiteX13" fmla="*/ 353855 w 9144000"/>
              <a:gd name="connsiteY13" fmla="*/ 4977972 h 5143500"/>
              <a:gd name="connsiteX14" fmla="*/ 358998 w 9144000"/>
              <a:gd name="connsiteY14" fmla="*/ 4983115 h 5143500"/>
              <a:gd name="connsiteX15" fmla="*/ 364141 w 9144000"/>
              <a:gd name="connsiteY15" fmla="*/ 4977972 h 5143500"/>
              <a:gd name="connsiteX16" fmla="*/ 358998 w 9144000"/>
              <a:gd name="connsiteY16" fmla="*/ 4972829 h 5143500"/>
              <a:gd name="connsiteX17" fmla="*/ 335514 w 9144000"/>
              <a:gd name="connsiteY17" fmla="*/ 4972102 h 5143500"/>
              <a:gd name="connsiteX18" fmla="*/ 329791 w 9144000"/>
              <a:gd name="connsiteY18" fmla="*/ 4978117 h 5143500"/>
              <a:gd name="connsiteX19" fmla="*/ 335805 w 9144000"/>
              <a:gd name="connsiteY19" fmla="*/ 4983840 h 5143500"/>
              <a:gd name="connsiteX20" fmla="*/ 341459 w 9144000"/>
              <a:gd name="connsiteY20" fmla="*/ 4978047 h 5143500"/>
              <a:gd name="connsiteX21" fmla="*/ 347256 w 9144000"/>
              <a:gd name="connsiteY21" fmla="*/ 4983844 h 5143500"/>
              <a:gd name="connsiteX22" fmla="*/ 353127 w 9144000"/>
              <a:gd name="connsiteY22" fmla="*/ 4977973 h 5143500"/>
              <a:gd name="connsiteX23" fmla="*/ 347256 w 9144000"/>
              <a:gd name="connsiteY23" fmla="*/ 4972102 h 5143500"/>
              <a:gd name="connsiteX24" fmla="*/ 341458 w 9144000"/>
              <a:gd name="connsiteY24" fmla="*/ 4977900 h 5143500"/>
              <a:gd name="connsiteX25" fmla="*/ 335660 w 9144000"/>
              <a:gd name="connsiteY25" fmla="*/ 4972102 h 5143500"/>
              <a:gd name="connsiteX26" fmla="*/ 370642 w 9144000"/>
              <a:gd name="connsiteY26" fmla="*/ 4961961 h 5143500"/>
              <a:gd name="connsiteX27" fmla="*/ 366227 w 9144000"/>
              <a:gd name="connsiteY27" fmla="*/ 4966376 h 5143500"/>
              <a:gd name="connsiteX28" fmla="*/ 370642 w 9144000"/>
              <a:gd name="connsiteY28" fmla="*/ 4970792 h 5143500"/>
              <a:gd name="connsiteX29" fmla="*/ 375057 w 9144000"/>
              <a:gd name="connsiteY29" fmla="*/ 4966376 h 5143500"/>
              <a:gd name="connsiteX30" fmla="*/ 370642 w 9144000"/>
              <a:gd name="connsiteY30" fmla="*/ 4961961 h 5143500"/>
              <a:gd name="connsiteX31" fmla="*/ 370643 w 9144000"/>
              <a:gd name="connsiteY31" fmla="*/ 4949297 h 5143500"/>
              <a:gd name="connsiteX32" fmla="*/ 365500 w 9144000"/>
              <a:gd name="connsiteY32" fmla="*/ 4954440 h 5143500"/>
              <a:gd name="connsiteX33" fmla="*/ 370643 w 9144000"/>
              <a:gd name="connsiteY33" fmla="*/ 4959583 h 5143500"/>
              <a:gd name="connsiteX34" fmla="*/ 375786 w 9144000"/>
              <a:gd name="connsiteY34" fmla="*/ 4954440 h 5143500"/>
              <a:gd name="connsiteX35" fmla="*/ 370643 w 9144000"/>
              <a:gd name="connsiteY35" fmla="*/ 4949297 h 5143500"/>
              <a:gd name="connsiteX36" fmla="*/ 358998 w 9144000"/>
              <a:gd name="connsiteY36" fmla="*/ 4948521 h 5143500"/>
              <a:gd name="connsiteX37" fmla="*/ 353079 w 9144000"/>
              <a:gd name="connsiteY37" fmla="*/ 4954440 h 5143500"/>
              <a:gd name="connsiteX38" fmla="*/ 358998 w 9144000"/>
              <a:gd name="connsiteY38" fmla="*/ 4960360 h 5143500"/>
              <a:gd name="connsiteX39" fmla="*/ 353127 w 9144000"/>
              <a:gd name="connsiteY39" fmla="*/ 4966231 h 5143500"/>
              <a:gd name="connsiteX40" fmla="*/ 358998 w 9144000"/>
              <a:gd name="connsiteY40" fmla="*/ 4972199 h 5143500"/>
              <a:gd name="connsiteX41" fmla="*/ 364965 w 9144000"/>
              <a:gd name="connsiteY41" fmla="*/ 4966328 h 5143500"/>
              <a:gd name="connsiteX42" fmla="*/ 359094 w 9144000"/>
              <a:gd name="connsiteY42" fmla="*/ 4960360 h 5143500"/>
              <a:gd name="connsiteX43" fmla="*/ 358998 w 9144000"/>
              <a:gd name="connsiteY43" fmla="*/ 4960360 h 5143500"/>
              <a:gd name="connsiteX44" fmla="*/ 364918 w 9144000"/>
              <a:gd name="connsiteY44" fmla="*/ 4954440 h 5143500"/>
              <a:gd name="connsiteX45" fmla="*/ 358998 w 9144000"/>
              <a:gd name="connsiteY45" fmla="*/ 4948521 h 5143500"/>
              <a:gd name="connsiteX46" fmla="*/ 625032 w 9144000"/>
              <a:gd name="connsiteY46" fmla="*/ 4939788 h 5143500"/>
              <a:gd name="connsiteX47" fmla="*/ 650020 w 9144000"/>
              <a:gd name="connsiteY47" fmla="*/ 4939788 h 5143500"/>
              <a:gd name="connsiteX48" fmla="*/ 650020 w 9144000"/>
              <a:gd name="connsiteY48" fmla="*/ 4948570 h 5143500"/>
              <a:gd name="connsiteX49" fmla="*/ 625032 w 9144000"/>
              <a:gd name="connsiteY49" fmla="*/ 4948570 h 5143500"/>
              <a:gd name="connsiteX50" fmla="*/ 487090 w 9144000"/>
              <a:gd name="connsiteY50" fmla="*/ 4939788 h 5143500"/>
              <a:gd name="connsiteX51" fmla="*/ 512078 w 9144000"/>
              <a:gd name="connsiteY51" fmla="*/ 4939788 h 5143500"/>
              <a:gd name="connsiteX52" fmla="*/ 511884 w 9144000"/>
              <a:gd name="connsiteY52" fmla="*/ 4948570 h 5143500"/>
              <a:gd name="connsiteX53" fmla="*/ 487090 w 9144000"/>
              <a:gd name="connsiteY53" fmla="*/ 4948570 h 5143500"/>
              <a:gd name="connsiteX54" fmla="*/ 573602 w 9144000"/>
              <a:gd name="connsiteY54" fmla="*/ 4939738 h 5143500"/>
              <a:gd name="connsiteX55" fmla="*/ 600045 w 9144000"/>
              <a:gd name="connsiteY55" fmla="*/ 4939738 h 5143500"/>
              <a:gd name="connsiteX56" fmla="*/ 600045 w 9144000"/>
              <a:gd name="connsiteY56" fmla="*/ 4966230 h 5143500"/>
              <a:gd name="connsiteX57" fmla="*/ 573602 w 9144000"/>
              <a:gd name="connsiteY57" fmla="*/ 4966230 h 5143500"/>
              <a:gd name="connsiteX58" fmla="*/ 737502 w 9144000"/>
              <a:gd name="connsiteY58" fmla="*/ 4930957 h 5143500"/>
              <a:gd name="connsiteX59" fmla="*/ 745556 w 9144000"/>
              <a:gd name="connsiteY59" fmla="*/ 4963271 h 5143500"/>
              <a:gd name="connsiteX60" fmla="*/ 757395 w 9144000"/>
              <a:gd name="connsiteY60" fmla="*/ 4975790 h 5143500"/>
              <a:gd name="connsiteX61" fmla="*/ 761713 w 9144000"/>
              <a:gd name="connsiteY61" fmla="*/ 4975790 h 5143500"/>
              <a:gd name="connsiteX62" fmla="*/ 761713 w 9144000"/>
              <a:gd name="connsiteY62" fmla="*/ 4985494 h 5143500"/>
              <a:gd name="connsiteX63" fmla="*/ 745556 w 9144000"/>
              <a:gd name="connsiteY63" fmla="*/ 4985494 h 5143500"/>
              <a:gd name="connsiteX64" fmla="*/ 745556 w 9144000"/>
              <a:gd name="connsiteY64" fmla="*/ 4994276 h 5143500"/>
              <a:gd name="connsiteX65" fmla="*/ 748516 w 9144000"/>
              <a:gd name="connsiteY65" fmla="*/ 4994276 h 5143500"/>
              <a:gd name="connsiteX66" fmla="*/ 770544 w 9144000"/>
              <a:gd name="connsiteY66" fmla="*/ 4978119 h 5143500"/>
              <a:gd name="connsiteX67" fmla="*/ 782286 w 9144000"/>
              <a:gd name="connsiteY67" fmla="*/ 4931103 h 5143500"/>
              <a:gd name="connsiteX68" fmla="*/ 771999 w 9144000"/>
              <a:gd name="connsiteY68" fmla="*/ 4930957 h 5143500"/>
              <a:gd name="connsiteX69" fmla="*/ 765401 w 9144000"/>
              <a:gd name="connsiteY69" fmla="*/ 4966231 h 5143500"/>
              <a:gd name="connsiteX70" fmla="*/ 754387 w 9144000"/>
              <a:gd name="connsiteY70" fmla="*/ 4966231 h 5143500"/>
              <a:gd name="connsiteX71" fmla="*/ 747788 w 9144000"/>
              <a:gd name="connsiteY71" fmla="*/ 4930957 h 5143500"/>
              <a:gd name="connsiteX72" fmla="*/ 730855 w 9144000"/>
              <a:gd name="connsiteY72" fmla="*/ 4930957 h 5143500"/>
              <a:gd name="connsiteX73" fmla="*/ 708885 w 9144000"/>
              <a:gd name="connsiteY73" fmla="*/ 4949820 h 5143500"/>
              <a:gd name="connsiteX74" fmla="*/ 708827 w 9144000"/>
              <a:gd name="connsiteY74" fmla="*/ 4951530 h 5143500"/>
              <a:gd name="connsiteX75" fmla="*/ 708827 w 9144000"/>
              <a:gd name="connsiteY75" fmla="*/ 4966086 h 5143500"/>
              <a:gd name="connsiteX76" fmla="*/ 702956 w 9144000"/>
              <a:gd name="connsiteY76" fmla="*/ 4966086 h 5143500"/>
              <a:gd name="connsiteX77" fmla="*/ 702956 w 9144000"/>
              <a:gd name="connsiteY77" fmla="*/ 4974916 h 5143500"/>
              <a:gd name="connsiteX78" fmla="*/ 733814 w 9144000"/>
              <a:gd name="connsiteY78" fmla="*/ 4974916 h 5143500"/>
              <a:gd name="connsiteX79" fmla="*/ 733814 w 9144000"/>
              <a:gd name="connsiteY79" fmla="*/ 4966086 h 5143500"/>
              <a:gd name="connsiteX80" fmla="*/ 717657 w 9144000"/>
              <a:gd name="connsiteY80" fmla="*/ 4966086 h 5143500"/>
              <a:gd name="connsiteX81" fmla="*/ 717657 w 9144000"/>
              <a:gd name="connsiteY81" fmla="*/ 4939788 h 5143500"/>
              <a:gd name="connsiteX82" fmla="*/ 730855 w 9144000"/>
              <a:gd name="connsiteY82" fmla="*/ 4939788 h 5143500"/>
              <a:gd name="connsiteX83" fmla="*/ 661180 w 9144000"/>
              <a:gd name="connsiteY83" fmla="*/ 4930957 h 5143500"/>
              <a:gd name="connsiteX84" fmla="*/ 670010 w 9144000"/>
              <a:gd name="connsiteY84" fmla="*/ 4964921 h 5143500"/>
              <a:gd name="connsiteX85" fmla="*/ 683256 w 9144000"/>
              <a:gd name="connsiteY85" fmla="*/ 4975984 h 5143500"/>
              <a:gd name="connsiteX86" fmla="*/ 696454 w 9144000"/>
              <a:gd name="connsiteY86" fmla="*/ 4964921 h 5143500"/>
              <a:gd name="connsiteX87" fmla="*/ 705284 w 9144000"/>
              <a:gd name="connsiteY87" fmla="*/ 4930957 h 5143500"/>
              <a:gd name="connsiteX88" fmla="*/ 694853 w 9144000"/>
              <a:gd name="connsiteY88" fmla="*/ 4930957 h 5143500"/>
              <a:gd name="connsiteX89" fmla="*/ 687526 w 9144000"/>
              <a:gd name="connsiteY89" fmla="*/ 4966231 h 5143500"/>
              <a:gd name="connsiteX90" fmla="*/ 678695 w 9144000"/>
              <a:gd name="connsiteY90" fmla="*/ 4966231 h 5143500"/>
              <a:gd name="connsiteX91" fmla="*/ 671466 w 9144000"/>
              <a:gd name="connsiteY91" fmla="*/ 4930957 h 5143500"/>
              <a:gd name="connsiteX92" fmla="*/ 445655 w 9144000"/>
              <a:gd name="connsiteY92" fmla="*/ 4930957 h 5143500"/>
              <a:gd name="connsiteX93" fmla="*/ 445655 w 9144000"/>
              <a:gd name="connsiteY93" fmla="*/ 4939739 h 5143500"/>
              <a:gd name="connsiteX94" fmla="*/ 458852 w 9144000"/>
              <a:gd name="connsiteY94" fmla="*/ 4939739 h 5143500"/>
              <a:gd name="connsiteX95" fmla="*/ 458852 w 9144000"/>
              <a:gd name="connsiteY95" fmla="*/ 4966231 h 5143500"/>
              <a:gd name="connsiteX96" fmla="*/ 450070 w 9144000"/>
              <a:gd name="connsiteY96" fmla="*/ 4966231 h 5143500"/>
              <a:gd name="connsiteX97" fmla="*/ 450070 w 9144000"/>
              <a:gd name="connsiteY97" fmla="*/ 4975013 h 5143500"/>
              <a:gd name="connsiteX98" fmla="*/ 476513 w 9144000"/>
              <a:gd name="connsiteY98" fmla="*/ 4975013 h 5143500"/>
              <a:gd name="connsiteX99" fmla="*/ 476513 w 9144000"/>
              <a:gd name="connsiteY99" fmla="*/ 4966231 h 5143500"/>
              <a:gd name="connsiteX100" fmla="*/ 467683 w 9144000"/>
              <a:gd name="connsiteY100" fmla="*/ 4966231 h 5143500"/>
              <a:gd name="connsiteX101" fmla="*/ 467683 w 9144000"/>
              <a:gd name="connsiteY101" fmla="*/ 4952257 h 5143500"/>
              <a:gd name="connsiteX102" fmla="*/ 445655 w 9144000"/>
              <a:gd name="connsiteY102" fmla="*/ 4930957 h 5143500"/>
              <a:gd name="connsiteX103" fmla="*/ 586848 w 9144000"/>
              <a:gd name="connsiteY103" fmla="*/ 4930228 h 5143500"/>
              <a:gd name="connsiteX104" fmla="*/ 563995 w 9144000"/>
              <a:gd name="connsiteY104" fmla="*/ 4952984 h 5143500"/>
              <a:gd name="connsiteX105" fmla="*/ 586751 w 9144000"/>
              <a:gd name="connsiteY105" fmla="*/ 4975837 h 5143500"/>
              <a:gd name="connsiteX106" fmla="*/ 609603 w 9144000"/>
              <a:gd name="connsiteY106" fmla="*/ 4953081 h 5143500"/>
              <a:gd name="connsiteX107" fmla="*/ 609603 w 9144000"/>
              <a:gd name="connsiteY107" fmla="*/ 4952984 h 5143500"/>
              <a:gd name="connsiteX108" fmla="*/ 587829 w 9144000"/>
              <a:gd name="connsiteY108" fmla="*/ 4930228 h 5143500"/>
              <a:gd name="connsiteX109" fmla="*/ 586848 w 9144000"/>
              <a:gd name="connsiteY109" fmla="*/ 4930228 h 5143500"/>
              <a:gd name="connsiteX110" fmla="*/ 500054 w 9144000"/>
              <a:gd name="connsiteY110" fmla="*/ 4930221 h 5143500"/>
              <a:gd name="connsiteX111" fmla="*/ 499560 w 9144000"/>
              <a:gd name="connsiteY111" fmla="*/ 4930229 h 5143500"/>
              <a:gd name="connsiteX112" fmla="*/ 499366 w 9144000"/>
              <a:gd name="connsiteY112" fmla="*/ 4930229 h 5143500"/>
              <a:gd name="connsiteX113" fmla="*/ 476619 w 9144000"/>
              <a:gd name="connsiteY113" fmla="*/ 4951714 h 5143500"/>
              <a:gd name="connsiteX114" fmla="*/ 476610 w 9144000"/>
              <a:gd name="connsiteY114" fmla="*/ 4952257 h 5143500"/>
              <a:gd name="connsiteX115" fmla="*/ 498638 w 9144000"/>
              <a:gd name="connsiteY115" fmla="*/ 4975013 h 5143500"/>
              <a:gd name="connsiteX116" fmla="*/ 517755 w 9144000"/>
              <a:gd name="connsiteY116" fmla="*/ 4975013 h 5143500"/>
              <a:gd name="connsiteX117" fmla="*/ 517755 w 9144000"/>
              <a:gd name="connsiteY117" fmla="*/ 4966231 h 5143500"/>
              <a:gd name="connsiteX118" fmla="*/ 487090 w 9144000"/>
              <a:gd name="connsiteY118" fmla="*/ 4966231 h 5143500"/>
              <a:gd name="connsiteX119" fmla="*/ 487090 w 9144000"/>
              <a:gd name="connsiteY119" fmla="*/ 4957400 h 5143500"/>
              <a:gd name="connsiteX120" fmla="*/ 522364 w 9144000"/>
              <a:gd name="connsiteY120" fmla="*/ 4957400 h 5143500"/>
              <a:gd name="connsiteX121" fmla="*/ 522364 w 9144000"/>
              <a:gd name="connsiteY121" fmla="*/ 4952257 h 5143500"/>
              <a:gd name="connsiteX122" fmla="*/ 500054 w 9144000"/>
              <a:gd name="connsiteY122" fmla="*/ 4930221 h 5143500"/>
              <a:gd name="connsiteX123" fmla="*/ 638045 w 9144000"/>
              <a:gd name="connsiteY123" fmla="*/ 4930220 h 5143500"/>
              <a:gd name="connsiteX124" fmla="*/ 637502 w 9144000"/>
              <a:gd name="connsiteY124" fmla="*/ 4930229 h 5143500"/>
              <a:gd name="connsiteX125" fmla="*/ 614706 w 9144000"/>
              <a:gd name="connsiteY125" fmla="*/ 4951763 h 5143500"/>
              <a:gd name="connsiteX126" fmla="*/ 614698 w 9144000"/>
              <a:gd name="connsiteY126" fmla="*/ 4952257 h 5143500"/>
              <a:gd name="connsiteX127" fmla="*/ 636774 w 9144000"/>
              <a:gd name="connsiteY127" fmla="*/ 4975013 h 5143500"/>
              <a:gd name="connsiteX128" fmla="*/ 655843 w 9144000"/>
              <a:gd name="connsiteY128" fmla="*/ 4975013 h 5143500"/>
              <a:gd name="connsiteX129" fmla="*/ 655843 w 9144000"/>
              <a:gd name="connsiteY129" fmla="*/ 4966231 h 5143500"/>
              <a:gd name="connsiteX130" fmla="*/ 624984 w 9144000"/>
              <a:gd name="connsiteY130" fmla="*/ 4966231 h 5143500"/>
              <a:gd name="connsiteX131" fmla="*/ 624984 w 9144000"/>
              <a:gd name="connsiteY131" fmla="*/ 4957400 h 5143500"/>
              <a:gd name="connsiteX132" fmla="*/ 660258 w 9144000"/>
              <a:gd name="connsiteY132" fmla="*/ 4957400 h 5143500"/>
              <a:gd name="connsiteX133" fmla="*/ 660258 w 9144000"/>
              <a:gd name="connsiteY133" fmla="*/ 4952257 h 5143500"/>
              <a:gd name="connsiteX134" fmla="*/ 638045 w 9144000"/>
              <a:gd name="connsiteY134" fmla="*/ 4930220 h 5143500"/>
              <a:gd name="connsiteX135" fmla="*/ 459046 w 9144000"/>
              <a:gd name="connsiteY135" fmla="*/ 4915139 h 5143500"/>
              <a:gd name="connsiteX136" fmla="*/ 452739 w 9144000"/>
              <a:gd name="connsiteY136" fmla="*/ 4921350 h 5143500"/>
              <a:gd name="connsiteX137" fmla="*/ 452739 w 9144000"/>
              <a:gd name="connsiteY137" fmla="*/ 4921398 h 5143500"/>
              <a:gd name="connsiteX138" fmla="*/ 458949 w 9144000"/>
              <a:gd name="connsiteY138" fmla="*/ 4927657 h 5143500"/>
              <a:gd name="connsiteX139" fmla="*/ 465257 w 9144000"/>
              <a:gd name="connsiteY139" fmla="*/ 4921447 h 5143500"/>
              <a:gd name="connsiteX140" fmla="*/ 459046 w 9144000"/>
              <a:gd name="connsiteY140" fmla="*/ 4915139 h 5143500"/>
              <a:gd name="connsiteX141" fmla="*/ 318127 w 9144000"/>
              <a:gd name="connsiteY141" fmla="*/ 4913726 h 5143500"/>
              <a:gd name="connsiteX142" fmla="*/ 318127 w 9144000"/>
              <a:gd name="connsiteY142" fmla="*/ 4925468 h 5143500"/>
              <a:gd name="connsiteX143" fmla="*/ 306337 w 9144000"/>
              <a:gd name="connsiteY143" fmla="*/ 4925468 h 5143500"/>
              <a:gd name="connsiteX144" fmla="*/ 306337 w 9144000"/>
              <a:gd name="connsiteY144" fmla="*/ 4937258 h 5143500"/>
              <a:gd name="connsiteX145" fmla="*/ 294595 w 9144000"/>
              <a:gd name="connsiteY145" fmla="*/ 4937258 h 5143500"/>
              <a:gd name="connsiteX146" fmla="*/ 294595 w 9144000"/>
              <a:gd name="connsiteY146" fmla="*/ 4949000 h 5143500"/>
              <a:gd name="connsiteX147" fmla="*/ 294595 w 9144000"/>
              <a:gd name="connsiteY147" fmla="*/ 4960742 h 5143500"/>
              <a:gd name="connsiteX148" fmla="*/ 306337 w 9144000"/>
              <a:gd name="connsiteY148" fmla="*/ 4960742 h 5143500"/>
              <a:gd name="connsiteX149" fmla="*/ 318127 w 9144000"/>
              <a:gd name="connsiteY149" fmla="*/ 4960742 h 5143500"/>
              <a:gd name="connsiteX150" fmla="*/ 318127 w 9144000"/>
              <a:gd name="connsiteY150" fmla="*/ 4949000 h 5143500"/>
              <a:gd name="connsiteX151" fmla="*/ 318127 w 9144000"/>
              <a:gd name="connsiteY151" fmla="*/ 4937258 h 5143500"/>
              <a:gd name="connsiteX152" fmla="*/ 329869 w 9144000"/>
              <a:gd name="connsiteY152" fmla="*/ 4937258 h 5143500"/>
              <a:gd name="connsiteX153" fmla="*/ 341611 w 9144000"/>
              <a:gd name="connsiteY153" fmla="*/ 4937258 h 5143500"/>
              <a:gd name="connsiteX154" fmla="*/ 341611 w 9144000"/>
              <a:gd name="connsiteY154" fmla="*/ 4925468 h 5143500"/>
              <a:gd name="connsiteX155" fmla="*/ 341611 w 9144000"/>
              <a:gd name="connsiteY155" fmla="*/ 4913726 h 5143500"/>
              <a:gd name="connsiteX156" fmla="*/ 329869 w 9144000"/>
              <a:gd name="connsiteY156" fmla="*/ 4913726 h 5143500"/>
              <a:gd name="connsiteX157" fmla="*/ 533912 w 9144000"/>
              <a:gd name="connsiteY157" fmla="*/ 4913441 h 5143500"/>
              <a:gd name="connsiteX158" fmla="*/ 533912 w 9144000"/>
              <a:gd name="connsiteY158" fmla="*/ 4931102 h 5143500"/>
              <a:gd name="connsiteX159" fmla="*/ 523626 w 9144000"/>
              <a:gd name="connsiteY159" fmla="*/ 4931102 h 5143500"/>
              <a:gd name="connsiteX160" fmla="*/ 523626 w 9144000"/>
              <a:gd name="connsiteY160" fmla="*/ 4939933 h 5143500"/>
              <a:gd name="connsiteX161" fmla="*/ 533912 w 9144000"/>
              <a:gd name="connsiteY161" fmla="*/ 4939933 h 5143500"/>
              <a:gd name="connsiteX162" fmla="*/ 533912 w 9144000"/>
              <a:gd name="connsiteY162" fmla="*/ 4953858 h 5143500"/>
              <a:gd name="connsiteX163" fmla="*/ 555212 w 9144000"/>
              <a:gd name="connsiteY163" fmla="*/ 4975207 h 5143500"/>
              <a:gd name="connsiteX164" fmla="*/ 561859 w 9144000"/>
              <a:gd name="connsiteY164" fmla="*/ 4975207 h 5143500"/>
              <a:gd name="connsiteX165" fmla="*/ 561859 w 9144000"/>
              <a:gd name="connsiteY165" fmla="*/ 4966376 h 5143500"/>
              <a:gd name="connsiteX166" fmla="*/ 542743 w 9144000"/>
              <a:gd name="connsiteY166" fmla="*/ 4966376 h 5143500"/>
              <a:gd name="connsiteX167" fmla="*/ 542743 w 9144000"/>
              <a:gd name="connsiteY167" fmla="*/ 4939787 h 5143500"/>
              <a:gd name="connsiteX168" fmla="*/ 557299 w 9144000"/>
              <a:gd name="connsiteY168" fmla="*/ 4939787 h 5143500"/>
              <a:gd name="connsiteX169" fmla="*/ 557299 w 9144000"/>
              <a:gd name="connsiteY169" fmla="*/ 4930957 h 5143500"/>
              <a:gd name="connsiteX170" fmla="*/ 542743 w 9144000"/>
              <a:gd name="connsiteY170" fmla="*/ 4930957 h 5143500"/>
              <a:gd name="connsiteX171" fmla="*/ 542743 w 9144000"/>
              <a:gd name="connsiteY171" fmla="*/ 4913441 h 5143500"/>
              <a:gd name="connsiteX172" fmla="*/ 416348 w 9144000"/>
              <a:gd name="connsiteY172" fmla="*/ 4913441 h 5143500"/>
              <a:gd name="connsiteX173" fmla="*/ 416348 w 9144000"/>
              <a:gd name="connsiteY173" fmla="*/ 4931102 h 5143500"/>
              <a:gd name="connsiteX174" fmla="*/ 406062 w 9144000"/>
              <a:gd name="connsiteY174" fmla="*/ 4931102 h 5143500"/>
              <a:gd name="connsiteX175" fmla="*/ 406062 w 9144000"/>
              <a:gd name="connsiteY175" fmla="*/ 4939933 h 5143500"/>
              <a:gd name="connsiteX176" fmla="*/ 416348 w 9144000"/>
              <a:gd name="connsiteY176" fmla="*/ 4939933 h 5143500"/>
              <a:gd name="connsiteX177" fmla="*/ 416348 w 9144000"/>
              <a:gd name="connsiteY177" fmla="*/ 4953130 h 5143500"/>
              <a:gd name="connsiteX178" fmla="*/ 437648 w 9144000"/>
              <a:gd name="connsiteY178" fmla="*/ 4975207 h 5143500"/>
              <a:gd name="connsiteX179" fmla="*/ 441336 w 9144000"/>
              <a:gd name="connsiteY179" fmla="*/ 4975207 h 5143500"/>
              <a:gd name="connsiteX180" fmla="*/ 441336 w 9144000"/>
              <a:gd name="connsiteY180" fmla="*/ 4966376 h 5143500"/>
              <a:gd name="connsiteX181" fmla="*/ 425179 w 9144000"/>
              <a:gd name="connsiteY181" fmla="*/ 4966376 h 5143500"/>
              <a:gd name="connsiteX182" fmla="*/ 425179 w 9144000"/>
              <a:gd name="connsiteY182" fmla="*/ 4939787 h 5143500"/>
              <a:gd name="connsiteX183" fmla="*/ 436920 w 9144000"/>
              <a:gd name="connsiteY183" fmla="*/ 4939787 h 5143500"/>
              <a:gd name="connsiteX184" fmla="*/ 436920 w 9144000"/>
              <a:gd name="connsiteY184" fmla="*/ 4930957 h 5143500"/>
              <a:gd name="connsiteX185" fmla="*/ 425179 w 9144000"/>
              <a:gd name="connsiteY185" fmla="*/ 4930957 h 5143500"/>
              <a:gd name="connsiteX186" fmla="*/ 425179 w 9144000"/>
              <a:gd name="connsiteY186" fmla="*/ 4913441 h 5143500"/>
              <a:gd name="connsiteX187" fmla="*/ 0 w 9144000"/>
              <a:gd name="connsiteY187" fmla="*/ 0 h 5143500"/>
              <a:gd name="connsiteX188" fmla="*/ 9144000 w 9144000"/>
              <a:gd name="connsiteY188" fmla="*/ 0 h 5143500"/>
              <a:gd name="connsiteX189" fmla="*/ 9144000 w 9144000"/>
              <a:gd name="connsiteY189" fmla="*/ 5143500 h 5143500"/>
              <a:gd name="connsiteX190" fmla="*/ 0 w 9144000"/>
              <a:gd name="connsiteY190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</a:cxnLst>
            <a:rect l="l" t="t" r="r" b="b"/>
            <a:pathLst>
              <a:path w="9144000" h="5143500">
                <a:moveTo>
                  <a:pt x="347256" y="4985347"/>
                </a:moveTo>
                <a:cubicBezTo>
                  <a:pt x="344817" y="4985347"/>
                  <a:pt x="342841" y="4987324"/>
                  <a:pt x="342841" y="4989763"/>
                </a:cubicBezTo>
                <a:cubicBezTo>
                  <a:pt x="342841" y="4992202"/>
                  <a:pt x="344818" y="4994178"/>
                  <a:pt x="347256" y="4994178"/>
                </a:cubicBezTo>
                <a:cubicBezTo>
                  <a:pt x="349695" y="4994178"/>
                  <a:pt x="351671" y="4992201"/>
                  <a:pt x="351671" y="4989762"/>
                </a:cubicBezTo>
                <a:cubicBezTo>
                  <a:pt x="351671" y="4989746"/>
                  <a:pt x="351671" y="4989730"/>
                  <a:pt x="351671" y="4989714"/>
                </a:cubicBezTo>
                <a:cubicBezTo>
                  <a:pt x="351671" y="4987302"/>
                  <a:pt x="349716" y="4985347"/>
                  <a:pt x="347304" y="4985347"/>
                </a:cubicBezTo>
                <a:cubicBezTo>
                  <a:pt x="347288" y="4985347"/>
                  <a:pt x="347272" y="4985347"/>
                  <a:pt x="347256" y="4985347"/>
                </a:cubicBezTo>
                <a:close/>
                <a:moveTo>
                  <a:pt x="335514" y="4984571"/>
                </a:moveTo>
                <a:cubicBezTo>
                  <a:pt x="332673" y="4984571"/>
                  <a:pt x="330371" y="4986874"/>
                  <a:pt x="330371" y="4989714"/>
                </a:cubicBezTo>
                <a:cubicBezTo>
                  <a:pt x="330371" y="4992555"/>
                  <a:pt x="332673" y="4994857"/>
                  <a:pt x="335514" y="4994857"/>
                </a:cubicBezTo>
                <a:cubicBezTo>
                  <a:pt x="338354" y="4994857"/>
                  <a:pt x="340657" y="4992555"/>
                  <a:pt x="340657" y="4989714"/>
                </a:cubicBezTo>
                <a:cubicBezTo>
                  <a:pt x="340657" y="4986874"/>
                  <a:pt x="338354" y="4984571"/>
                  <a:pt x="335514" y="4984571"/>
                </a:cubicBezTo>
                <a:close/>
                <a:moveTo>
                  <a:pt x="358998" y="4972829"/>
                </a:moveTo>
                <a:cubicBezTo>
                  <a:pt x="356157" y="4972829"/>
                  <a:pt x="353855" y="4975132"/>
                  <a:pt x="353855" y="4977972"/>
                </a:cubicBezTo>
                <a:cubicBezTo>
                  <a:pt x="353855" y="4980813"/>
                  <a:pt x="356157" y="4983115"/>
                  <a:pt x="358998" y="4983115"/>
                </a:cubicBezTo>
                <a:cubicBezTo>
                  <a:pt x="361838" y="4983115"/>
                  <a:pt x="364141" y="4980813"/>
                  <a:pt x="364141" y="4977972"/>
                </a:cubicBezTo>
                <a:cubicBezTo>
                  <a:pt x="364141" y="4975132"/>
                  <a:pt x="361838" y="4972829"/>
                  <a:pt x="358998" y="4972829"/>
                </a:cubicBezTo>
                <a:close/>
                <a:moveTo>
                  <a:pt x="335514" y="4972102"/>
                </a:moveTo>
                <a:cubicBezTo>
                  <a:pt x="332273" y="4972182"/>
                  <a:pt x="329710" y="4974875"/>
                  <a:pt x="329791" y="4978117"/>
                </a:cubicBezTo>
                <a:cubicBezTo>
                  <a:pt x="329871" y="4981358"/>
                  <a:pt x="332564" y="4983921"/>
                  <a:pt x="335805" y="4983840"/>
                </a:cubicBezTo>
                <a:lnTo>
                  <a:pt x="341459" y="4978047"/>
                </a:lnTo>
                <a:lnTo>
                  <a:pt x="347256" y="4983844"/>
                </a:lnTo>
                <a:cubicBezTo>
                  <a:pt x="350498" y="4983844"/>
                  <a:pt x="353127" y="4981215"/>
                  <a:pt x="353127" y="4977973"/>
                </a:cubicBezTo>
                <a:cubicBezTo>
                  <a:pt x="353127" y="4974730"/>
                  <a:pt x="350498" y="4972102"/>
                  <a:pt x="347256" y="4972102"/>
                </a:cubicBezTo>
                <a:lnTo>
                  <a:pt x="341458" y="4977900"/>
                </a:lnTo>
                <a:lnTo>
                  <a:pt x="335660" y="4972102"/>
                </a:lnTo>
                <a:close/>
                <a:moveTo>
                  <a:pt x="370642" y="4961961"/>
                </a:moveTo>
                <a:cubicBezTo>
                  <a:pt x="368204" y="4961961"/>
                  <a:pt x="366227" y="4963938"/>
                  <a:pt x="366227" y="4966376"/>
                </a:cubicBezTo>
                <a:cubicBezTo>
                  <a:pt x="366227" y="4968815"/>
                  <a:pt x="368204" y="4970792"/>
                  <a:pt x="370642" y="4970792"/>
                </a:cubicBezTo>
                <a:cubicBezTo>
                  <a:pt x="373081" y="4970792"/>
                  <a:pt x="375057" y="4968815"/>
                  <a:pt x="375057" y="4966376"/>
                </a:cubicBezTo>
                <a:cubicBezTo>
                  <a:pt x="375057" y="4963938"/>
                  <a:pt x="373081" y="4961961"/>
                  <a:pt x="370642" y="4961961"/>
                </a:cubicBezTo>
                <a:close/>
                <a:moveTo>
                  <a:pt x="370643" y="4949297"/>
                </a:moveTo>
                <a:cubicBezTo>
                  <a:pt x="367802" y="4949297"/>
                  <a:pt x="365500" y="4951600"/>
                  <a:pt x="365500" y="4954440"/>
                </a:cubicBezTo>
                <a:cubicBezTo>
                  <a:pt x="365500" y="4957281"/>
                  <a:pt x="367802" y="4959583"/>
                  <a:pt x="370643" y="4959583"/>
                </a:cubicBezTo>
                <a:cubicBezTo>
                  <a:pt x="373483" y="4959583"/>
                  <a:pt x="375786" y="4957281"/>
                  <a:pt x="375786" y="4954440"/>
                </a:cubicBezTo>
                <a:cubicBezTo>
                  <a:pt x="375786" y="4951600"/>
                  <a:pt x="373483" y="4949297"/>
                  <a:pt x="370643" y="4949297"/>
                </a:cubicBezTo>
                <a:close/>
                <a:moveTo>
                  <a:pt x="358998" y="4948521"/>
                </a:moveTo>
                <a:cubicBezTo>
                  <a:pt x="355729" y="4948521"/>
                  <a:pt x="353079" y="4951171"/>
                  <a:pt x="353079" y="4954440"/>
                </a:cubicBezTo>
                <a:cubicBezTo>
                  <a:pt x="353079" y="4957710"/>
                  <a:pt x="355729" y="4960360"/>
                  <a:pt x="358998" y="4960360"/>
                </a:cubicBezTo>
                <a:cubicBezTo>
                  <a:pt x="355755" y="4960360"/>
                  <a:pt x="353127" y="4962989"/>
                  <a:pt x="353127" y="4966231"/>
                </a:cubicBezTo>
                <a:cubicBezTo>
                  <a:pt x="353100" y="4969500"/>
                  <a:pt x="355729" y="4972172"/>
                  <a:pt x="358998" y="4972199"/>
                </a:cubicBezTo>
                <a:cubicBezTo>
                  <a:pt x="362267" y="4972225"/>
                  <a:pt x="364939" y="4969597"/>
                  <a:pt x="364965" y="4966328"/>
                </a:cubicBezTo>
                <a:cubicBezTo>
                  <a:pt x="364992" y="4963059"/>
                  <a:pt x="362364" y="4960387"/>
                  <a:pt x="359094" y="4960360"/>
                </a:cubicBezTo>
                <a:cubicBezTo>
                  <a:pt x="359062" y="4960360"/>
                  <a:pt x="359030" y="4960360"/>
                  <a:pt x="358998" y="4960360"/>
                </a:cubicBezTo>
                <a:cubicBezTo>
                  <a:pt x="362267" y="4960360"/>
                  <a:pt x="364918" y="4957710"/>
                  <a:pt x="364918" y="4954440"/>
                </a:cubicBezTo>
                <a:cubicBezTo>
                  <a:pt x="364918" y="4951171"/>
                  <a:pt x="362267" y="4948521"/>
                  <a:pt x="358998" y="4948521"/>
                </a:cubicBezTo>
                <a:close/>
                <a:moveTo>
                  <a:pt x="625032" y="4939788"/>
                </a:moveTo>
                <a:lnTo>
                  <a:pt x="650020" y="4939788"/>
                </a:lnTo>
                <a:lnTo>
                  <a:pt x="650020" y="4948570"/>
                </a:lnTo>
                <a:lnTo>
                  <a:pt x="625032" y="4948570"/>
                </a:lnTo>
                <a:close/>
                <a:moveTo>
                  <a:pt x="487090" y="4939788"/>
                </a:moveTo>
                <a:lnTo>
                  <a:pt x="512078" y="4939788"/>
                </a:lnTo>
                <a:lnTo>
                  <a:pt x="511884" y="4948570"/>
                </a:lnTo>
                <a:lnTo>
                  <a:pt x="487090" y="4948570"/>
                </a:lnTo>
                <a:close/>
                <a:moveTo>
                  <a:pt x="573602" y="4939738"/>
                </a:moveTo>
                <a:lnTo>
                  <a:pt x="600045" y="4939738"/>
                </a:lnTo>
                <a:lnTo>
                  <a:pt x="600045" y="4966230"/>
                </a:lnTo>
                <a:lnTo>
                  <a:pt x="573602" y="4966230"/>
                </a:lnTo>
                <a:close/>
                <a:moveTo>
                  <a:pt x="737502" y="4930957"/>
                </a:moveTo>
                <a:cubicBezTo>
                  <a:pt x="737502" y="4930957"/>
                  <a:pt x="744197" y="4957740"/>
                  <a:pt x="745556" y="4963271"/>
                </a:cubicBezTo>
                <a:cubicBezTo>
                  <a:pt x="746915" y="4968803"/>
                  <a:pt x="750020" y="4975790"/>
                  <a:pt x="757395" y="4975790"/>
                </a:cubicBezTo>
                <a:lnTo>
                  <a:pt x="761713" y="4975790"/>
                </a:lnTo>
                <a:lnTo>
                  <a:pt x="761713" y="4985494"/>
                </a:lnTo>
                <a:lnTo>
                  <a:pt x="745556" y="4985494"/>
                </a:lnTo>
                <a:lnTo>
                  <a:pt x="745556" y="4994276"/>
                </a:lnTo>
                <a:lnTo>
                  <a:pt x="748516" y="4994276"/>
                </a:lnTo>
                <a:cubicBezTo>
                  <a:pt x="758603" y="4994291"/>
                  <a:pt x="767528" y="4987745"/>
                  <a:pt x="770544" y="4978119"/>
                </a:cubicBezTo>
                <a:cubicBezTo>
                  <a:pt x="772630" y="4969822"/>
                  <a:pt x="782286" y="4931103"/>
                  <a:pt x="782286" y="4931103"/>
                </a:cubicBezTo>
                <a:lnTo>
                  <a:pt x="771999" y="4930957"/>
                </a:lnTo>
                <a:lnTo>
                  <a:pt x="765401" y="4966231"/>
                </a:lnTo>
                <a:lnTo>
                  <a:pt x="754387" y="4966231"/>
                </a:lnTo>
                <a:lnTo>
                  <a:pt x="747788" y="4930957"/>
                </a:lnTo>
                <a:close/>
                <a:moveTo>
                  <a:pt x="730855" y="4930957"/>
                </a:moveTo>
                <a:cubicBezTo>
                  <a:pt x="719579" y="4930099"/>
                  <a:pt x="709743" y="4938544"/>
                  <a:pt x="708885" y="4949820"/>
                </a:cubicBezTo>
                <a:cubicBezTo>
                  <a:pt x="708842" y="4950389"/>
                  <a:pt x="708822" y="4950959"/>
                  <a:pt x="708827" y="4951530"/>
                </a:cubicBezTo>
                <a:lnTo>
                  <a:pt x="708827" y="4966086"/>
                </a:lnTo>
                <a:lnTo>
                  <a:pt x="702956" y="4966086"/>
                </a:lnTo>
                <a:lnTo>
                  <a:pt x="702956" y="4974916"/>
                </a:lnTo>
                <a:lnTo>
                  <a:pt x="733814" y="4974916"/>
                </a:lnTo>
                <a:lnTo>
                  <a:pt x="733814" y="4966086"/>
                </a:lnTo>
                <a:lnTo>
                  <a:pt x="717657" y="4966086"/>
                </a:lnTo>
                <a:lnTo>
                  <a:pt x="717657" y="4939788"/>
                </a:lnTo>
                <a:lnTo>
                  <a:pt x="730855" y="4939788"/>
                </a:lnTo>
                <a:close/>
                <a:moveTo>
                  <a:pt x="661180" y="4930957"/>
                </a:moveTo>
                <a:cubicBezTo>
                  <a:pt x="661180" y="4930957"/>
                  <a:pt x="667681" y="4955945"/>
                  <a:pt x="670010" y="4964921"/>
                </a:cubicBezTo>
                <a:cubicBezTo>
                  <a:pt x="670841" y="4971512"/>
                  <a:pt x="676623" y="4976341"/>
                  <a:pt x="683256" y="4975984"/>
                </a:cubicBezTo>
                <a:cubicBezTo>
                  <a:pt x="690534" y="4975984"/>
                  <a:pt x="694270" y="4973752"/>
                  <a:pt x="696454" y="4964921"/>
                </a:cubicBezTo>
                <a:cubicBezTo>
                  <a:pt x="698637" y="4956091"/>
                  <a:pt x="705284" y="4930957"/>
                  <a:pt x="705284" y="4930957"/>
                </a:cubicBezTo>
                <a:lnTo>
                  <a:pt x="694853" y="4930957"/>
                </a:lnTo>
                <a:lnTo>
                  <a:pt x="687526" y="4966231"/>
                </a:lnTo>
                <a:lnTo>
                  <a:pt x="678695" y="4966231"/>
                </a:lnTo>
                <a:lnTo>
                  <a:pt x="671466" y="4930957"/>
                </a:lnTo>
                <a:close/>
                <a:moveTo>
                  <a:pt x="445655" y="4930957"/>
                </a:moveTo>
                <a:lnTo>
                  <a:pt x="445655" y="4939739"/>
                </a:lnTo>
                <a:lnTo>
                  <a:pt x="458852" y="4939739"/>
                </a:lnTo>
                <a:lnTo>
                  <a:pt x="458852" y="4966231"/>
                </a:lnTo>
                <a:lnTo>
                  <a:pt x="450070" y="4966231"/>
                </a:lnTo>
                <a:lnTo>
                  <a:pt x="450070" y="4975013"/>
                </a:lnTo>
                <a:lnTo>
                  <a:pt x="476513" y="4975013"/>
                </a:lnTo>
                <a:lnTo>
                  <a:pt x="476513" y="4966231"/>
                </a:lnTo>
                <a:lnTo>
                  <a:pt x="467683" y="4966231"/>
                </a:lnTo>
                <a:lnTo>
                  <a:pt x="467683" y="4952257"/>
                </a:lnTo>
                <a:cubicBezTo>
                  <a:pt x="467683" y="4938672"/>
                  <a:pt x="458852" y="4930957"/>
                  <a:pt x="445655" y="4930957"/>
                </a:cubicBezTo>
                <a:close/>
                <a:moveTo>
                  <a:pt x="586848" y="4930228"/>
                </a:moveTo>
                <a:cubicBezTo>
                  <a:pt x="574253" y="4930202"/>
                  <a:pt x="564022" y="4940390"/>
                  <a:pt x="563995" y="4952984"/>
                </a:cubicBezTo>
                <a:cubicBezTo>
                  <a:pt x="563968" y="4965579"/>
                  <a:pt x="574156" y="4975810"/>
                  <a:pt x="586751" y="4975837"/>
                </a:cubicBezTo>
                <a:cubicBezTo>
                  <a:pt x="599345" y="4975864"/>
                  <a:pt x="609577" y="4965676"/>
                  <a:pt x="609603" y="4953081"/>
                </a:cubicBezTo>
                <a:cubicBezTo>
                  <a:pt x="609603" y="4953049"/>
                  <a:pt x="609603" y="4953017"/>
                  <a:pt x="609603" y="4952984"/>
                </a:cubicBezTo>
                <a:cubicBezTo>
                  <a:pt x="609874" y="4940688"/>
                  <a:pt x="600126" y="4930499"/>
                  <a:pt x="587829" y="4930228"/>
                </a:cubicBezTo>
                <a:cubicBezTo>
                  <a:pt x="587502" y="4930221"/>
                  <a:pt x="587175" y="4930221"/>
                  <a:pt x="586848" y="4930228"/>
                </a:cubicBezTo>
                <a:close/>
                <a:moveTo>
                  <a:pt x="500054" y="4930221"/>
                </a:moveTo>
                <a:cubicBezTo>
                  <a:pt x="499889" y="4930222"/>
                  <a:pt x="499724" y="4930224"/>
                  <a:pt x="499560" y="4930229"/>
                </a:cubicBezTo>
                <a:lnTo>
                  <a:pt x="499366" y="4930229"/>
                </a:lnTo>
                <a:cubicBezTo>
                  <a:pt x="487151" y="4929881"/>
                  <a:pt x="476967" y="4939500"/>
                  <a:pt x="476619" y="4951714"/>
                </a:cubicBezTo>
                <a:cubicBezTo>
                  <a:pt x="476613" y="4951895"/>
                  <a:pt x="476610" y="4952076"/>
                  <a:pt x="476610" y="4952257"/>
                </a:cubicBezTo>
                <a:cubicBezTo>
                  <a:pt x="476604" y="4964546"/>
                  <a:pt x="486355" y="4974620"/>
                  <a:pt x="498638" y="4975013"/>
                </a:cubicBezTo>
                <a:lnTo>
                  <a:pt x="517755" y="4975013"/>
                </a:lnTo>
                <a:lnTo>
                  <a:pt x="517755" y="4966231"/>
                </a:lnTo>
                <a:lnTo>
                  <a:pt x="487090" y="4966231"/>
                </a:lnTo>
                <a:lnTo>
                  <a:pt x="487090" y="4957400"/>
                </a:lnTo>
                <a:lnTo>
                  <a:pt x="522364" y="4957400"/>
                </a:lnTo>
                <a:lnTo>
                  <a:pt x="522364" y="4952257"/>
                </a:lnTo>
                <a:cubicBezTo>
                  <a:pt x="522289" y="4940011"/>
                  <a:pt x="512300" y="4930145"/>
                  <a:pt x="500054" y="4930221"/>
                </a:cubicBezTo>
                <a:close/>
                <a:moveTo>
                  <a:pt x="638045" y="4930220"/>
                </a:moveTo>
                <a:cubicBezTo>
                  <a:pt x="637864" y="4930221"/>
                  <a:pt x="637683" y="4930224"/>
                  <a:pt x="637502" y="4930229"/>
                </a:cubicBezTo>
                <a:cubicBezTo>
                  <a:pt x="625261" y="4929881"/>
                  <a:pt x="615055" y="4939521"/>
                  <a:pt x="614706" y="4951763"/>
                </a:cubicBezTo>
                <a:cubicBezTo>
                  <a:pt x="614702" y="4951927"/>
                  <a:pt x="614699" y="4952092"/>
                  <a:pt x="614698" y="4952257"/>
                </a:cubicBezTo>
                <a:cubicBezTo>
                  <a:pt x="614692" y="4964564"/>
                  <a:pt x="624473" y="4974646"/>
                  <a:pt x="636774" y="4975013"/>
                </a:cubicBezTo>
                <a:lnTo>
                  <a:pt x="655843" y="4975013"/>
                </a:lnTo>
                <a:lnTo>
                  <a:pt x="655843" y="4966231"/>
                </a:lnTo>
                <a:lnTo>
                  <a:pt x="624984" y="4966231"/>
                </a:lnTo>
                <a:lnTo>
                  <a:pt x="624984" y="4957400"/>
                </a:lnTo>
                <a:lnTo>
                  <a:pt x="660258" y="4957400"/>
                </a:lnTo>
                <a:lnTo>
                  <a:pt x="660258" y="4952257"/>
                </a:lnTo>
                <a:cubicBezTo>
                  <a:pt x="660209" y="4940038"/>
                  <a:pt x="650264" y="4930172"/>
                  <a:pt x="638045" y="4930220"/>
                </a:cubicBezTo>
                <a:close/>
                <a:moveTo>
                  <a:pt x="459046" y="4915139"/>
                </a:moveTo>
                <a:cubicBezTo>
                  <a:pt x="455590" y="4915112"/>
                  <a:pt x="452766" y="4917893"/>
                  <a:pt x="452739" y="4921350"/>
                </a:cubicBezTo>
                <a:cubicBezTo>
                  <a:pt x="452739" y="4921366"/>
                  <a:pt x="452739" y="4921382"/>
                  <a:pt x="452739" y="4921398"/>
                </a:cubicBezTo>
                <a:cubicBezTo>
                  <a:pt x="452739" y="4924836"/>
                  <a:pt x="455511" y="4927630"/>
                  <a:pt x="458949" y="4927657"/>
                </a:cubicBezTo>
                <a:cubicBezTo>
                  <a:pt x="462406" y="4927684"/>
                  <a:pt x="465230" y="4924903"/>
                  <a:pt x="465257" y="4921447"/>
                </a:cubicBezTo>
                <a:cubicBezTo>
                  <a:pt x="465283" y="4917990"/>
                  <a:pt x="462503" y="4915166"/>
                  <a:pt x="459046" y="4915139"/>
                </a:cubicBezTo>
                <a:close/>
                <a:moveTo>
                  <a:pt x="318127" y="4913726"/>
                </a:moveTo>
                <a:lnTo>
                  <a:pt x="318127" y="4925468"/>
                </a:lnTo>
                <a:lnTo>
                  <a:pt x="306337" y="4925468"/>
                </a:lnTo>
                <a:lnTo>
                  <a:pt x="306337" y="4937258"/>
                </a:lnTo>
                <a:lnTo>
                  <a:pt x="294595" y="4937258"/>
                </a:lnTo>
                <a:lnTo>
                  <a:pt x="294595" y="4949000"/>
                </a:lnTo>
                <a:lnTo>
                  <a:pt x="294595" y="4960742"/>
                </a:lnTo>
                <a:lnTo>
                  <a:pt x="306337" y="4960742"/>
                </a:lnTo>
                <a:lnTo>
                  <a:pt x="318127" y="4960742"/>
                </a:lnTo>
                <a:lnTo>
                  <a:pt x="318127" y="4949000"/>
                </a:lnTo>
                <a:lnTo>
                  <a:pt x="318127" y="4937258"/>
                </a:lnTo>
                <a:lnTo>
                  <a:pt x="329869" y="4937258"/>
                </a:lnTo>
                <a:lnTo>
                  <a:pt x="341611" y="4937258"/>
                </a:lnTo>
                <a:lnTo>
                  <a:pt x="341611" y="4925468"/>
                </a:lnTo>
                <a:lnTo>
                  <a:pt x="341611" y="4913726"/>
                </a:lnTo>
                <a:lnTo>
                  <a:pt x="329869" y="4913726"/>
                </a:lnTo>
                <a:close/>
                <a:moveTo>
                  <a:pt x="533912" y="4913441"/>
                </a:moveTo>
                <a:lnTo>
                  <a:pt x="533912" y="4931102"/>
                </a:lnTo>
                <a:lnTo>
                  <a:pt x="523626" y="4931102"/>
                </a:lnTo>
                <a:lnTo>
                  <a:pt x="523626" y="4939933"/>
                </a:lnTo>
                <a:lnTo>
                  <a:pt x="533912" y="4939933"/>
                </a:lnTo>
                <a:lnTo>
                  <a:pt x="533912" y="4953858"/>
                </a:lnTo>
                <a:cubicBezTo>
                  <a:pt x="533912" y="4967104"/>
                  <a:pt x="540511" y="4975207"/>
                  <a:pt x="555212" y="4975207"/>
                </a:cubicBezTo>
                <a:lnTo>
                  <a:pt x="561859" y="4975207"/>
                </a:lnTo>
                <a:lnTo>
                  <a:pt x="561859" y="4966376"/>
                </a:lnTo>
                <a:lnTo>
                  <a:pt x="542743" y="4966376"/>
                </a:lnTo>
                <a:lnTo>
                  <a:pt x="542743" y="4939787"/>
                </a:lnTo>
                <a:lnTo>
                  <a:pt x="557299" y="4939787"/>
                </a:lnTo>
                <a:lnTo>
                  <a:pt x="557299" y="4930957"/>
                </a:lnTo>
                <a:lnTo>
                  <a:pt x="542743" y="4930957"/>
                </a:lnTo>
                <a:lnTo>
                  <a:pt x="542743" y="4913441"/>
                </a:lnTo>
                <a:close/>
                <a:moveTo>
                  <a:pt x="416348" y="4913441"/>
                </a:moveTo>
                <a:lnTo>
                  <a:pt x="416348" y="4931102"/>
                </a:lnTo>
                <a:lnTo>
                  <a:pt x="406062" y="4931102"/>
                </a:lnTo>
                <a:lnTo>
                  <a:pt x="406062" y="4939933"/>
                </a:lnTo>
                <a:lnTo>
                  <a:pt x="416348" y="4939933"/>
                </a:lnTo>
                <a:lnTo>
                  <a:pt x="416348" y="4953130"/>
                </a:lnTo>
                <a:cubicBezTo>
                  <a:pt x="416348" y="4966376"/>
                  <a:pt x="422947" y="4975207"/>
                  <a:pt x="437648" y="4975207"/>
                </a:cubicBezTo>
                <a:lnTo>
                  <a:pt x="441336" y="4975207"/>
                </a:lnTo>
                <a:lnTo>
                  <a:pt x="441336" y="4966376"/>
                </a:lnTo>
                <a:lnTo>
                  <a:pt x="425179" y="4966376"/>
                </a:lnTo>
                <a:lnTo>
                  <a:pt x="425179" y="4939787"/>
                </a:lnTo>
                <a:lnTo>
                  <a:pt x="436920" y="4939787"/>
                </a:lnTo>
                <a:lnTo>
                  <a:pt x="436920" y="4930957"/>
                </a:lnTo>
                <a:lnTo>
                  <a:pt x="425179" y="4930957"/>
                </a:lnTo>
                <a:lnTo>
                  <a:pt x="425179" y="4913441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287338" y="735013"/>
            <a:ext cx="3273091" cy="17931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d your quot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93DDC7-6347-4E7C-80D6-CA23706A068E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3829" y="231775"/>
            <a:ext cx="3276600" cy="365208"/>
          </a:xfrm>
        </p:spPr>
        <p:txBody>
          <a:bodyPr tIns="36000">
            <a:normAutofit/>
          </a:bodyPr>
          <a:lstStyle>
            <a:lvl1pPr marL="0" indent="0">
              <a:spcBef>
                <a:spcPts val="0"/>
              </a:spcBef>
              <a:buClr>
                <a:schemeClr val="accent6"/>
              </a:buClr>
              <a:buFont typeface="+mj-lt"/>
              <a:buNone/>
              <a:defRPr sz="1200">
                <a:solidFill>
                  <a:schemeClr val="accent6"/>
                </a:solidFill>
              </a:defRPr>
            </a:lvl1pPr>
            <a:lvl2pPr marL="234950" indent="0">
              <a:buClr>
                <a:schemeClr val="accent6"/>
              </a:buClr>
              <a:buFont typeface="+mj-lt"/>
              <a:buNone/>
              <a:defRPr>
                <a:solidFill>
                  <a:schemeClr val="bg1"/>
                </a:solidFill>
              </a:defRPr>
            </a:lvl2pPr>
            <a:lvl3pPr marL="587375" indent="-174625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768350" indent="-188913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946150" indent="-177800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intro text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DC43ACE-919E-4F14-B57A-476B078BDADC}"/>
              </a:ext>
            </a:extLst>
          </p:cNvPr>
          <p:cNvSpPr>
            <a:spLocks noGrp="1"/>
          </p:cNvSpPr>
          <p:nvPr userDrawn="1"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E1DCD5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8C85202-0B59-48F2-8674-991A71F862D0}"/>
              </a:ext>
            </a:extLst>
          </p:cNvPr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E1DCD5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C77536-C884-4A81-AE68-002872FF9735}"/>
              </a:ext>
            </a:extLst>
          </p:cNvPr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E1DCD5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917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3" pos="4513">
          <p15:clr>
            <a:srgbClr val="FBAE40"/>
          </p15:clr>
        </p15:guide>
        <p15:guide id="4" pos="2245">
          <p15:clr>
            <a:srgbClr val="FBAE4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1">
    <p:bg>
      <p:bgPr>
        <a:solidFill>
          <a:schemeClr val="bg2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3CBC1972-8065-4A53-B307-68AB4006EBA4}"/>
              </a:ext>
            </a:extLst>
          </p:cNvPr>
          <p:cNvSpPr/>
          <p:nvPr userDrawn="1"/>
        </p:nvSpPr>
        <p:spPr>
          <a:xfrm>
            <a:off x="4604362" y="0"/>
            <a:ext cx="4539638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1380D2C-E53A-487E-B484-96C822075E1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custGeom>
            <a:avLst/>
            <a:gdLst>
              <a:gd name="connsiteX0" fmla="*/ 137498 w 4572000"/>
              <a:gd name="connsiteY0" fmla="*/ 2070213 h 5143500"/>
              <a:gd name="connsiteX1" fmla="*/ 124631 w 4572000"/>
              <a:gd name="connsiteY1" fmla="*/ 2081770 h 5143500"/>
              <a:gd name="connsiteX2" fmla="*/ 124631 w 4572000"/>
              <a:gd name="connsiteY2" fmla="*/ 2081817 h 5143500"/>
              <a:gd name="connsiteX3" fmla="*/ 137158 w 4572000"/>
              <a:gd name="connsiteY3" fmla="*/ 2093986 h 5143500"/>
              <a:gd name="connsiteX4" fmla="*/ 149674 w 4572000"/>
              <a:gd name="connsiteY4" fmla="*/ 2082425 h 5143500"/>
              <a:gd name="connsiteX5" fmla="*/ 137498 w 4572000"/>
              <a:gd name="connsiteY5" fmla="*/ 2070213 h 5143500"/>
              <a:gd name="connsiteX6" fmla="*/ 137789 w 4572000"/>
              <a:gd name="connsiteY6" fmla="*/ 1765449 h 5143500"/>
              <a:gd name="connsiteX7" fmla="*/ 112056 w 4572000"/>
              <a:gd name="connsiteY7" fmla="*/ 1788657 h 5143500"/>
              <a:gd name="connsiteX8" fmla="*/ 112056 w 4572000"/>
              <a:gd name="connsiteY8" fmla="*/ 1788707 h 5143500"/>
              <a:gd name="connsiteX9" fmla="*/ 137157 w 4572000"/>
              <a:gd name="connsiteY9" fmla="*/ 1813090 h 5143500"/>
              <a:gd name="connsiteX10" fmla="*/ 162245 w 4572000"/>
              <a:gd name="connsiteY10" fmla="*/ 1789873 h 5143500"/>
              <a:gd name="connsiteX11" fmla="*/ 137789 w 4572000"/>
              <a:gd name="connsiteY11" fmla="*/ 1765449 h 5143500"/>
              <a:gd name="connsiteX12" fmla="*/ 137498 w 4572000"/>
              <a:gd name="connsiteY12" fmla="*/ 1484172 h 5143500"/>
              <a:gd name="connsiteX13" fmla="*/ 124631 w 4572000"/>
              <a:gd name="connsiteY13" fmla="*/ 1495729 h 5143500"/>
              <a:gd name="connsiteX14" fmla="*/ 124631 w 4572000"/>
              <a:gd name="connsiteY14" fmla="*/ 1495874 h 5143500"/>
              <a:gd name="connsiteX15" fmla="*/ 137157 w 4572000"/>
              <a:gd name="connsiteY15" fmla="*/ 1507945 h 5143500"/>
              <a:gd name="connsiteX16" fmla="*/ 149674 w 4572000"/>
              <a:gd name="connsiteY16" fmla="*/ 1496384 h 5143500"/>
              <a:gd name="connsiteX17" fmla="*/ 137498 w 4572000"/>
              <a:gd name="connsiteY17" fmla="*/ 1484172 h 5143500"/>
              <a:gd name="connsiteX18" fmla="*/ 137498 w 4572000"/>
              <a:gd name="connsiteY18" fmla="*/ 1191246 h 5143500"/>
              <a:gd name="connsiteX19" fmla="*/ 124631 w 4572000"/>
              <a:gd name="connsiteY19" fmla="*/ 1202803 h 5143500"/>
              <a:gd name="connsiteX20" fmla="*/ 124631 w 4572000"/>
              <a:gd name="connsiteY20" fmla="*/ 1202948 h 5143500"/>
              <a:gd name="connsiteX21" fmla="*/ 137157 w 4572000"/>
              <a:gd name="connsiteY21" fmla="*/ 1215019 h 5143500"/>
              <a:gd name="connsiteX22" fmla="*/ 149674 w 4572000"/>
              <a:gd name="connsiteY22" fmla="*/ 1203458 h 5143500"/>
              <a:gd name="connsiteX23" fmla="*/ 137498 w 4572000"/>
              <a:gd name="connsiteY23" fmla="*/ 1191246 h 5143500"/>
              <a:gd name="connsiteX24" fmla="*/ 137449 w 4572000"/>
              <a:gd name="connsiteY24" fmla="*/ 898320 h 5143500"/>
              <a:gd name="connsiteX25" fmla="*/ 124631 w 4572000"/>
              <a:gd name="connsiteY25" fmla="*/ 909924 h 5143500"/>
              <a:gd name="connsiteX26" fmla="*/ 137158 w 4572000"/>
              <a:gd name="connsiteY26" fmla="*/ 922093 h 5143500"/>
              <a:gd name="connsiteX27" fmla="*/ 149679 w 4572000"/>
              <a:gd name="connsiteY27" fmla="*/ 910486 h 5143500"/>
              <a:gd name="connsiteX28" fmla="*/ 137449 w 4572000"/>
              <a:gd name="connsiteY28" fmla="*/ 898320 h 5143500"/>
              <a:gd name="connsiteX29" fmla="*/ 137744 w 4572000"/>
              <a:gd name="connsiteY29" fmla="*/ 593738 h 5143500"/>
              <a:gd name="connsiteX30" fmla="*/ 112056 w 4572000"/>
              <a:gd name="connsiteY30" fmla="*/ 616998 h 5143500"/>
              <a:gd name="connsiteX31" fmla="*/ 137158 w 4572000"/>
              <a:gd name="connsiteY31" fmla="*/ 641384 h 5143500"/>
              <a:gd name="connsiteX32" fmla="*/ 162244 w 4572000"/>
              <a:gd name="connsiteY32" fmla="*/ 618121 h 5143500"/>
              <a:gd name="connsiteX33" fmla="*/ 137744 w 4572000"/>
              <a:gd name="connsiteY33" fmla="*/ 593738 h 5143500"/>
              <a:gd name="connsiteX34" fmla="*/ 137449 w 4572000"/>
              <a:gd name="connsiteY34" fmla="*/ 312467 h 5143500"/>
              <a:gd name="connsiteX35" fmla="*/ 124631 w 4572000"/>
              <a:gd name="connsiteY35" fmla="*/ 324071 h 5143500"/>
              <a:gd name="connsiteX36" fmla="*/ 137158 w 4572000"/>
              <a:gd name="connsiteY36" fmla="*/ 336240 h 5143500"/>
              <a:gd name="connsiteX37" fmla="*/ 149679 w 4572000"/>
              <a:gd name="connsiteY37" fmla="*/ 324633 h 5143500"/>
              <a:gd name="connsiteX38" fmla="*/ 137449 w 4572000"/>
              <a:gd name="connsiteY38" fmla="*/ 312467 h 5143500"/>
              <a:gd name="connsiteX39" fmla="*/ 0 w 4572000"/>
              <a:gd name="connsiteY39" fmla="*/ 0 h 5143500"/>
              <a:gd name="connsiteX40" fmla="*/ 4572000 w 4572000"/>
              <a:gd name="connsiteY40" fmla="*/ 0 h 5143500"/>
              <a:gd name="connsiteX41" fmla="*/ 4572000 w 4572000"/>
              <a:gd name="connsiteY41" fmla="*/ 5143500 h 5143500"/>
              <a:gd name="connsiteX42" fmla="*/ 0 w 4572000"/>
              <a:gd name="connsiteY4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4572000" h="5143500">
                <a:moveTo>
                  <a:pt x="137498" y="2070213"/>
                </a:moveTo>
                <a:cubicBezTo>
                  <a:pt x="130585" y="2070030"/>
                  <a:pt x="124824" y="2075207"/>
                  <a:pt x="124631" y="2081770"/>
                </a:cubicBezTo>
                <a:cubicBezTo>
                  <a:pt x="124631" y="2081784"/>
                  <a:pt x="124631" y="2081802"/>
                  <a:pt x="124631" y="2081817"/>
                </a:cubicBezTo>
                <a:cubicBezTo>
                  <a:pt x="124547" y="2088463"/>
                  <a:pt x="130161" y="2093912"/>
                  <a:pt x="137158" y="2093986"/>
                </a:cubicBezTo>
                <a:cubicBezTo>
                  <a:pt x="143939" y="2093982"/>
                  <a:pt x="149486" y="2088862"/>
                  <a:pt x="149674" y="2082425"/>
                </a:cubicBezTo>
                <a:cubicBezTo>
                  <a:pt x="149866" y="2075863"/>
                  <a:pt x="144413" y="2070395"/>
                  <a:pt x="137498" y="2070213"/>
                </a:cubicBezTo>
                <a:close/>
                <a:moveTo>
                  <a:pt x="137789" y="1765449"/>
                </a:moveTo>
                <a:cubicBezTo>
                  <a:pt x="123931" y="1765111"/>
                  <a:pt x="112411" y="1775503"/>
                  <a:pt x="112056" y="1788657"/>
                </a:cubicBezTo>
                <a:cubicBezTo>
                  <a:pt x="112056" y="1788675"/>
                  <a:pt x="112056" y="1788689"/>
                  <a:pt x="112056" y="1788707"/>
                </a:cubicBezTo>
                <a:cubicBezTo>
                  <a:pt x="111893" y="1802020"/>
                  <a:pt x="123132" y="1812936"/>
                  <a:pt x="137157" y="1813090"/>
                </a:cubicBezTo>
                <a:cubicBezTo>
                  <a:pt x="150769" y="1813086"/>
                  <a:pt x="161893" y="1802788"/>
                  <a:pt x="162245" y="1789873"/>
                </a:cubicBezTo>
                <a:cubicBezTo>
                  <a:pt x="162595" y="1776720"/>
                  <a:pt x="151651" y="1765781"/>
                  <a:pt x="137789" y="1765449"/>
                </a:cubicBezTo>
                <a:close/>
                <a:moveTo>
                  <a:pt x="137498" y="1484172"/>
                </a:moveTo>
                <a:cubicBezTo>
                  <a:pt x="130584" y="1483989"/>
                  <a:pt x="124823" y="1489166"/>
                  <a:pt x="124631" y="1495729"/>
                </a:cubicBezTo>
                <a:cubicBezTo>
                  <a:pt x="124631" y="1495776"/>
                  <a:pt x="124631" y="1495823"/>
                  <a:pt x="124631" y="1495874"/>
                </a:cubicBezTo>
                <a:cubicBezTo>
                  <a:pt x="124577" y="1502488"/>
                  <a:pt x="130184" y="1507895"/>
                  <a:pt x="137157" y="1507945"/>
                </a:cubicBezTo>
                <a:cubicBezTo>
                  <a:pt x="143938" y="1507941"/>
                  <a:pt x="149486" y="1502821"/>
                  <a:pt x="149674" y="1496384"/>
                </a:cubicBezTo>
                <a:cubicBezTo>
                  <a:pt x="149866" y="1489822"/>
                  <a:pt x="144412" y="1484354"/>
                  <a:pt x="137498" y="1484172"/>
                </a:cubicBezTo>
                <a:close/>
                <a:moveTo>
                  <a:pt x="137498" y="1191246"/>
                </a:moveTo>
                <a:cubicBezTo>
                  <a:pt x="130584" y="1191064"/>
                  <a:pt x="124823" y="1196240"/>
                  <a:pt x="124631" y="1202803"/>
                </a:cubicBezTo>
                <a:cubicBezTo>
                  <a:pt x="124631" y="1202850"/>
                  <a:pt x="124631" y="1202897"/>
                  <a:pt x="124631" y="1202948"/>
                </a:cubicBezTo>
                <a:cubicBezTo>
                  <a:pt x="124577" y="1209562"/>
                  <a:pt x="130184" y="1214969"/>
                  <a:pt x="137157" y="1215019"/>
                </a:cubicBezTo>
                <a:cubicBezTo>
                  <a:pt x="143938" y="1215015"/>
                  <a:pt x="149486" y="1209895"/>
                  <a:pt x="149674" y="1203458"/>
                </a:cubicBezTo>
                <a:cubicBezTo>
                  <a:pt x="149866" y="1196896"/>
                  <a:pt x="144412" y="1191428"/>
                  <a:pt x="137498" y="1191246"/>
                </a:cubicBezTo>
                <a:close/>
                <a:moveTo>
                  <a:pt x="137449" y="898320"/>
                </a:moveTo>
                <a:cubicBezTo>
                  <a:pt x="130535" y="898165"/>
                  <a:pt x="124795" y="903361"/>
                  <a:pt x="124631" y="909924"/>
                </a:cubicBezTo>
                <a:cubicBezTo>
                  <a:pt x="124552" y="916570"/>
                  <a:pt x="130161" y="922019"/>
                  <a:pt x="137158" y="922093"/>
                </a:cubicBezTo>
                <a:cubicBezTo>
                  <a:pt x="143959" y="922093"/>
                  <a:pt x="149516" y="916941"/>
                  <a:pt x="149679" y="910486"/>
                </a:cubicBezTo>
                <a:cubicBezTo>
                  <a:pt x="149841" y="903923"/>
                  <a:pt x="144367" y="898474"/>
                  <a:pt x="137449" y="898320"/>
                </a:cubicBezTo>
                <a:close/>
                <a:moveTo>
                  <a:pt x="137744" y="593738"/>
                </a:moveTo>
                <a:cubicBezTo>
                  <a:pt x="123881" y="593429"/>
                  <a:pt x="112381" y="603844"/>
                  <a:pt x="112056" y="616998"/>
                </a:cubicBezTo>
                <a:cubicBezTo>
                  <a:pt x="111918" y="630301"/>
                  <a:pt x="123142" y="641207"/>
                  <a:pt x="137158" y="641384"/>
                </a:cubicBezTo>
                <a:cubicBezTo>
                  <a:pt x="150789" y="641381"/>
                  <a:pt x="161924" y="631054"/>
                  <a:pt x="162244" y="618121"/>
                </a:cubicBezTo>
                <a:cubicBezTo>
                  <a:pt x="162570" y="604968"/>
                  <a:pt x="151602" y="594052"/>
                  <a:pt x="137744" y="593738"/>
                </a:cubicBezTo>
                <a:close/>
                <a:moveTo>
                  <a:pt x="137449" y="312467"/>
                </a:moveTo>
                <a:cubicBezTo>
                  <a:pt x="130535" y="312312"/>
                  <a:pt x="124795" y="317508"/>
                  <a:pt x="124631" y="324071"/>
                </a:cubicBezTo>
                <a:cubicBezTo>
                  <a:pt x="124552" y="330717"/>
                  <a:pt x="130161" y="336166"/>
                  <a:pt x="137158" y="336240"/>
                </a:cubicBezTo>
                <a:cubicBezTo>
                  <a:pt x="143959" y="336240"/>
                  <a:pt x="149516" y="331088"/>
                  <a:pt x="149679" y="324633"/>
                </a:cubicBezTo>
                <a:cubicBezTo>
                  <a:pt x="149841" y="318071"/>
                  <a:pt x="144367" y="312621"/>
                  <a:pt x="137449" y="312467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7" name="Dots">
            <a:extLst>
              <a:ext uri="{FF2B5EF4-FFF2-40B4-BE49-F238E27FC236}">
                <a16:creationId xmlns:a16="http://schemas.microsoft.com/office/drawing/2014/main" id="{EE9EFEE1-081D-43C2-B79D-9A03DAD0196F}"/>
              </a:ext>
            </a:extLst>
          </p:cNvPr>
          <p:cNvSpPr/>
          <p:nvPr userDrawn="1"/>
        </p:nvSpPr>
        <p:spPr>
          <a:xfrm rot="16200000">
            <a:off x="2916303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E1AED2E5-EACC-4379-8B86-BDCC33C414F2}"/>
              </a:ext>
            </a:extLst>
          </p:cNvPr>
          <p:cNvGrpSpPr/>
          <p:nvPr/>
        </p:nvGrpSpPr>
        <p:grpSpPr>
          <a:xfrm>
            <a:off x="571125" y="4482250"/>
            <a:ext cx="1535077" cy="256610"/>
            <a:chOff x="301852" y="4913727"/>
            <a:chExt cx="487916" cy="81562"/>
          </a:xfrm>
          <a:solidFill>
            <a:schemeClr val="tx2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1" y="231776"/>
            <a:ext cx="2824965" cy="2583344"/>
          </a:xfrm>
        </p:spPr>
        <p:txBody>
          <a:bodyPr anchor="b"/>
          <a:lstStyle>
            <a:lvl1pPr algn="l"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/>
              <a:t>Add text for example Thank you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2B055659-967E-4FB4-B761-219916CE0D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890836"/>
            <a:ext cx="2705129" cy="365125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808080"/>
                </a:solidFill>
              </a:defRPr>
            </a:lvl1pPr>
            <a:lvl2pPr marL="179388" indent="0">
              <a:buNone/>
              <a:defRPr/>
            </a:lvl2pPr>
            <a:lvl3pPr marL="360362" indent="0">
              <a:buNone/>
              <a:defRPr/>
            </a:lvl3pPr>
            <a:lvl4pPr marL="539750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US"/>
              <a:t>Click to add date and/or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1400008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and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396000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B2EFC80-19D6-4D40-8BBD-10FBF9FB383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87337" y="735013"/>
            <a:ext cx="8569325" cy="252412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308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1629A0C0-C4FA-4BD5-B2B6-6748A116A518}"/>
              </a:ext>
            </a:extLst>
          </p:cNvPr>
          <p:cNvSpPr/>
          <p:nvPr userDrawn="1"/>
        </p:nvSpPr>
        <p:spPr>
          <a:xfrm>
            <a:off x="4604362" y="0"/>
            <a:ext cx="4539638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1380D2C-E53A-487E-B484-96C822075E1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custGeom>
            <a:avLst/>
            <a:gdLst>
              <a:gd name="connsiteX0" fmla="*/ 137498 w 4572000"/>
              <a:gd name="connsiteY0" fmla="*/ 2070213 h 5143500"/>
              <a:gd name="connsiteX1" fmla="*/ 124631 w 4572000"/>
              <a:gd name="connsiteY1" fmla="*/ 2081770 h 5143500"/>
              <a:gd name="connsiteX2" fmla="*/ 124631 w 4572000"/>
              <a:gd name="connsiteY2" fmla="*/ 2081817 h 5143500"/>
              <a:gd name="connsiteX3" fmla="*/ 137158 w 4572000"/>
              <a:gd name="connsiteY3" fmla="*/ 2093986 h 5143500"/>
              <a:gd name="connsiteX4" fmla="*/ 149674 w 4572000"/>
              <a:gd name="connsiteY4" fmla="*/ 2082425 h 5143500"/>
              <a:gd name="connsiteX5" fmla="*/ 137498 w 4572000"/>
              <a:gd name="connsiteY5" fmla="*/ 2070213 h 5143500"/>
              <a:gd name="connsiteX6" fmla="*/ 137789 w 4572000"/>
              <a:gd name="connsiteY6" fmla="*/ 1765449 h 5143500"/>
              <a:gd name="connsiteX7" fmla="*/ 112056 w 4572000"/>
              <a:gd name="connsiteY7" fmla="*/ 1788657 h 5143500"/>
              <a:gd name="connsiteX8" fmla="*/ 112056 w 4572000"/>
              <a:gd name="connsiteY8" fmla="*/ 1788707 h 5143500"/>
              <a:gd name="connsiteX9" fmla="*/ 137157 w 4572000"/>
              <a:gd name="connsiteY9" fmla="*/ 1813090 h 5143500"/>
              <a:gd name="connsiteX10" fmla="*/ 162245 w 4572000"/>
              <a:gd name="connsiteY10" fmla="*/ 1789873 h 5143500"/>
              <a:gd name="connsiteX11" fmla="*/ 137789 w 4572000"/>
              <a:gd name="connsiteY11" fmla="*/ 1765449 h 5143500"/>
              <a:gd name="connsiteX12" fmla="*/ 137498 w 4572000"/>
              <a:gd name="connsiteY12" fmla="*/ 1484172 h 5143500"/>
              <a:gd name="connsiteX13" fmla="*/ 124631 w 4572000"/>
              <a:gd name="connsiteY13" fmla="*/ 1495729 h 5143500"/>
              <a:gd name="connsiteX14" fmla="*/ 124631 w 4572000"/>
              <a:gd name="connsiteY14" fmla="*/ 1495874 h 5143500"/>
              <a:gd name="connsiteX15" fmla="*/ 137157 w 4572000"/>
              <a:gd name="connsiteY15" fmla="*/ 1507945 h 5143500"/>
              <a:gd name="connsiteX16" fmla="*/ 149674 w 4572000"/>
              <a:gd name="connsiteY16" fmla="*/ 1496384 h 5143500"/>
              <a:gd name="connsiteX17" fmla="*/ 137498 w 4572000"/>
              <a:gd name="connsiteY17" fmla="*/ 1484172 h 5143500"/>
              <a:gd name="connsiteX18" fmla="*/ 137498 w 4572000"/>
              <a:gd name="connsiteY18" fmla="*/ 1191246 h 5143500"/>
              <a:gd name="connsiteX19" fmla="*/ 124631 w 4572000"/>
              <a:gd name="connsiteY19" fmla="*/ 1202803 h 5143500"/>
              <a:gd name="connsiteX20" fmla="*/ 124631 w 4572000"/>
              <a:gd name="connsiteY20" fmla="*/ 1202948 h 5143500"/>
              <a:gd name="connsiteX21" fmla="*/ 137157 w 4572000"/>
              <a:gd name="connsiteY21" fmla="*/ 1215019 h 5143500"/>
              <a:gd name="connsiteX22" fmla="*/ 149674 w 4572000"/>
              <a:gd name="connsiteY22" fmla="*/ 1203458 h 5143500"/>
              <a:gd name="connsiteX23" fmla="*/ 137498 w 4572000"/>
              <a:gd name="connsiteY23" fmla="*/ 1191246 h 5143500"/>
              <a:gd name="connsiteX24" fmla="*/ 137449 w 4572000"/>
              <a:gd name="connsiteY24" fmla="*/ 898320 h 5143500"/>
              <a:gd name="connsiteX25" fmla="*/ 124631 w 4572000"/>
              <a:gd name="connsiteY25" fmla="*/ 909924 h 5143500"/>
              <a:gd name="connsiteX26" fmla="*/ 137158 w 4572000"/>
              <a:gd name="connsiteY26" fmla="*/ 922093 h 5143500"/>
              <a:gd name="connsiteX27" fmla="*/ 149679 w 4572000"/>
              <a:gd name="connsiteY27" fmla="*/ 910486 h 5143500"/>
              <a:gd name="connsiteX28" fmla="*/ 137449 w 4572000"/>
              <a:gd name="connsiteY28" fmla="*/ 898320 h 5143500"/>
              <a:gd name="connsiteX29" fmla="*/ 137744 w 4572000"/>
              <a:gd name="connsiteY29" fmla="*/ 593738 h 5143500"/>
              <a:gd name="connsiteX30" fmla="*/ 112056 w 4572000"/>
              <a:gd name="connsiteY30" fmla="*/ 616998 h 5143500"/>
              <a:gd name="connsiteX31" fmla="*/ 137158 w 4572000"/>
              <a:gd name="connsiteY31" fmla="*/ 641384 h 5143500"/>
              <a:gd name="connsiteX32" fmla="*/ 162244 w 4572000"/>
              <a:gd name="connsiteY32" fmla="*/ 618121 h 5143500"/>
              <a:gd name="connsiteX33" fmla="*/ 137744 w 4572000"/>
              <a:gd name="connsiteY33" fmla="*/ 593738 h 5143500"/>
              <a:gd name="connsiteX34" fmla="*/ 137449 w 4572000"/>
              <a:gd name="connsiteY34" fmla="*/ 312467 h 5143500"/>
              <a:gd name="connsiteX35" fmla="*/ 124631 w 4572000"/>
              <a:gd name="connsiteY35" fmla="*/ 324071 h 5143500"/>
              <a:gd name="connsiteX36" fmla="*/ 137158 w 4572000"/>
              <a:gd name="connsiteY36" fmla="*/ 336240 h 5143500"/>
              <a:gd name="connsiteX37" fmla="*/ 149679 w 4572000"/>
              <a:gd name="connsiteY37" fmla="*/ 324633 h 5143500"/>
              <a:gd name="connsiteX38" fmla="*/ 137449 w 4572000"/>
              <a:gd name="connsiteY38" fmla="*/ 312467 h 5143500"/>
              <a:gd name="connsiteX39" fmla="*/ 0 w 4572000"/>
              <a:gd name="connsiteY39" fmla="*/ 0 h 5143500"/>
              <a:gd name="connsiteX40" fmla="*/ 4572000 w 4572000"/>
              <a:gd name="connsiteY40" fmla="*/ 0 h 5143500"/>
              <a:gd name="connsiteX41" fmla="*/ 4572000 w 4572000"/>
              <a:gd name="connsiteY41" fmla="*/ 5143500 h 5143500"/>
              <a:gd name="connsiteX42" fmla="*/ 0 w 4572000"/>
              <a:gd name="connsiteY4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4572000" h="5143500">
                <a:moveTo>
                  <a:pt x="137498" y="2070213"/>
                </a:moveTo>
                <a:cubicBezTo>
                  <a:pt x="130585" y="2070030"/>
                  <a:pt x="124824" y="2075207"/>
                  <a:pt x="124631" y="2081770"/>
                </a:cubicBezTo>
                <a:cubicBezTo>
                  <a:pt x="124631" y="2081784"/>
                  <a:pt x="124631" y="2081802"/>
                  <a:pt x="124631" y="2081817"/>
                </a:cubicBezTo>
                <a:cubicBezTo>
                  <a:pt x="124547" y="2088463"/>
                  <a:pt x="130161" y="2093912"/>
                  <a:pt x="137158" y="2093986"/>
                </a:cubicBezTo>
                <a:cubicBezTo>
                  <a:pt x="143939" y="2093982"/>
                  <a:pt x="149486" y="2088862"/>
                  <a:pt x="149674" y="2082425"/>
                </a:cubicBezTo>
                <a:cubicBezTo>
                  <a:pt x="149866" y="2075863"/>
                  <a:pt x="144413" y="2070395"/>
                  <a:pt x="137498" y="2070213"/>
                </a:cubicBezTo>
                <a:close/>
                <a:moveTo>
                  <a:pt x="137789" y="1765449"/>
                </a:moveTo>
                <a:cubicBezTo>
                  <a:pt x="123931" y="1765111"/>
                  <a:pt x="112411" y="1775503"/>
                  <a:pt x="112056" y="1788657"/>
                </a:cubicBezTo>
                <a:cubicBezTo>
                  <a:pt x="112056" y="1788675"/>
                  <a:pt x="112056" y="1788689"/>
                  <a:pt x="112056" y="1788707"/>
                </a:cubicBezTo>
                <a:cubicBezTo>
                  <a:pt x="111893" y="1802020"/>
                  <a:pt x="123132" y="1812936"/>
                  <a:pt x="137157" y="1813090"/>
                </a:cubicBezTo>
                <a:cubicBezTo>
                  <a:pt x="150769" y="1813086"/>
                  <a:pt x="161893" y="1802788"/>
                  <a:pt x="162245" y="1789873"/>
                </a:cubicBezTo>
                <a:cubicBezTo>
                  <a:pt x="162595" y="1776720"/>
                  <a:pt x="151651" y="1765781"/>
                  <a:pt x="137789" y="1765449"/>
                </a:cubicBezTo>
                <a:close/>
                <a:moveTo>
                  <a:pt x="137498" y="1484172"/>
                </a:moveTo>
                <a:cubicBezTo>
                  <a:pt x="130584" y="1483989"/>
                  <a:pt x="124823" y="1489166"/>
                  <a:pt x="124631" y="1495729"/>
                </a:cubicBezTo>
                <a:cubicBezTo>
                  <a:pt x="124631" y="1495776"/>
                  <a:pt x="124631" y="1495823"/>
                  <a:pt x="124631" y="1495874"/>
                </a:cubicBezTo>
                <a:cubicBezTo>
                  <a:pt x="124577" y="1502488"/>
                  <a:pt x="130184" y="1507895"/>
                  <a:pt x="137157" y="1507945"/>
                </a:cubicBezTo>
                <a:cubicBezTo>
                  <a:pt x="143938" y="1507941"/>
                  <a:pt x="149486" y="1502821"/>
                  <a:pt x="149674" y="1496384"/>
                </a:cubicBezTo>
                <a:cubicBezTo>
                  <a:pt x="149866" y="1489822"/>
                  <a:pt x="144412" y="1484354"/>
                  <a:pt x="137498" y="1484172"/>
                </a:cubicBezTo>
                <a:close/>
                <a:moveTo>
                  <a:pt x="137498" y="1191246"/>
                </a:moveTo>
                <a:cubicBezTo>
                  <a:pt x="130584" y="1191064"/>
                  <a:pt x="124823" y="1196240"/>
                  <a:pt x="124631" y="1202803"/>
                </a:cubicBezTo>
                <a:cubicBezTo>
                  <a:pt x="124631" y="1202850"/>
                  <a:pt x="124631" y="1202897"/>
                  <a:pt x="124631" y="1202948"/>
                </a:cubicBezTo>
                <a:cubicBezTo>
                  <a:pt x="124577" y="1209562"/>
                  <a:pt x="130184" y="1214969"/>
                  <a:pt x="137157" y="1215019"/>
                </a:cubicBezTo>
                <a:cubicBezTo>
                  <a:pt x="143938" y="1215015"/>
                  <a:pt x="149486" y="1209895"/>
                  <a:pt x="149674" y="1203458"/>
                </a:cubicBezTo>
                <a:cubicBezTo>
                  <a:pt x="149866" y="1196896"/>
                  <a:pt x="144412" y="1191428"/>
                  <a:pt x="137498" y="1191246"/>
                </a:cubicBezTo>
                <a:close/>
                <a:moveTo>
                  <a:pt x="137449" y="898320"/>
                </a:moveTo>
                <a:cubicBezTo>
                  <a:pt x="130535" y="898165"/>
                  <a:pt x="124795" y="903361"/>
                  <a:pt x="124631" y="909924"/>
                </a:cubicBezTo>
                <a:cubicBezTo>
                  <a:pt x="124552" y="916570"/>
                  <a:pt x="130161" y="922019"/>
                  <a:pt x="137158" y="922093"/>
                </a:cubicBezTo>
                <a:cubicBezTo>
                  <a:pt x="143959" y="922093"/>
                  <a:pt x="149516" y="916941"/>
                  <a:pt x="149679" y="910486"/>
                </a:cubicBezTo>
                <a:cubicBezTo>
                  <a:pt x="149841" y="903923"/>
                  <a:pt x="144367" y="898474"/>
                  <a:pt x="137449" y="898320"/>
                </a:cubicBezTo>
                <a:close/>
                <a:moveTo>
                  <a:pt x="137744" y="593738"/>
                </a:moveTo>
                <a:cubicBezTo>
                  <a:pt x="123881" y="593429"/>
                  <a:pt x="112381" y="603844"/>
                  <a:pt x="112056" y="616998"/>
                </a:cubicBezTo>
                <a:cubicBezTo>
                  <a:pt x="111918" y="630301"/>
                  <a:pt x="123142" y="641207"/>
                  <a:pt x="137158" y="641384"/>
                </a:cubicBezTo>
                <a:cubicBezTo>
                  <a:pt x="150789" y="641381"/>
                  <a:pt x="161924" y="631054"/>
                  <a:pt x="162244" y="618121"/>
                </a:cubicBezTo>
                <a:cubicBezTo>
                  <a:pt x="162570" y="604968"/>
                  <a:pt x="151602" y="594052"/>
                  <a:pt x="137744" y="593738"/>
                </a:cubicBezTo>
                <a:close/>
                <a:moveTo>
                  <a:pt x="137449" y="312467"/>
                </a:moveTo>
                <a:cubicBezTo>
                  <a:pt x="130535" y="312312"/>
                  <a:pt x="124795" y="317508"/>
                  <a:pt x="124631" y="324071"/>
                </a:cubicBezTo>
                <a:cubicBezTo>
                  <a:pt x="124552" y="330717"/>
                  <a:pt x="130161" y="336166"/>
                  <a:pt x="137158" y="336240"/>
                </a:cubicBezTo>
                <a:cubicBezTo>
                  <a:pt x="143959" y="336240"/>
                  <a:pt x="149516" y="331088"/>
                  <a:pt x="149679" y="324633"/>
                </a:cubicBezTo>
                <a:cubicBezTo>
                  <a:pt x="149841" y="318071"/>
                  <a:pt x="144367" y="312621"/>
                  <a:pt x="137449" y="312467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7" name="Dots">
            <a:extLst>
              <a:ext uri="{FF2B5EF4-FFF2-40B4-BE49-F238E27FC236}">
                <a16:creationId xmlns:a16="http://schemas.microsoft.com/office/drawing/2014/main" id="{EE9EFEE1-081D-43C2-B79D-9A03DAD0196F}"/>
              </a:ext>
            </a:extLst>
          </p:cNvPr>
          <p:cNvSpPr/>
          <p:nvPr userDrawn="1"/>
        </p:nvSpPr>
        <p:spPr>
          <a:xfrm rot="16200000">
            <a:off x="2916303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E1AED2E5-EACC-4379-8B86-BDCC33C414F2}"/>
              </a:ext>
            </a:extLst>
          </p:cNvPr>
          <p:cNvGrpSpPr/>
          <p:nvPr/>
        </p:nvGrpSpPr>
        <p:grpSpPr>
          <a:xfrm>
            <a:off x="571125" y="4482250"/>
            <a:ext cx="1535077" cy="256610"/>
            <a:chOff x="301852" y="4913727"/>
            <a:chExt cx="487916" cy="81562"/>
          </a:xfrm>
          <a:solidFill>
            <a:schemeClr val="bg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1" y="231776"/>
            <a:ext cx="2824965" cy="2583344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Add text for example Thank you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2B055659-967E-4FB4-B761-219916CE0D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890836"/>
            <a:ext cx="2705129" cy="365125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DEB59F"/>
                </a:solidFill>
              </a:defRPr>
            </a:lvl1pPr>
            <a:lvl2pPr marL="179388" indent="0">
              <a:buNone/>
              <a:defRPr/>
            </a:lvl2pPr>
            <a:lvl3pPr marL="360362" indent="0">
              <a:buNone/>
              <a:defRPr/>
            </a:lvl3pPr>
            <a:lvl4pPr marL="539750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US"/>
              <a:t>Click to add date and/or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3984645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3">
    <p:bg>
      <p:bgPr>
        <a:solidFill>
          <a:schemeClr val="bg2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aphic 19">
            <a:extLst>
              <a:ext uri="{FF2B5EF4-FFF2-40B4-BE49-F238E27FC236}">
                <a16:creationId xmlns:a16="http://schemas.microsoft.com/office/drawing/2014/main" id="{E1AED2E5-EACC-4379-8B86-BDCC33C414F2}"/>
              </a:ext>
            </a:extLst>
          </p:cNvPr>
          <p:cNvGrpSpPr/>
          <p:nvPr/>
        </p:nvGrpSpPr>
        <p:grpSpPr>
          <a:xfrm>
            <a:off x="571125" y="4482250"/>
            <a:ext cx="1535077" cy="256610"/>
            <a:chOff x="301852" y="4913727"/>
            <a:chExt cx="487916" cy="81562"/>
          </a:xfrm>
          <a:solidFill>
            <a:schemeClr val="tx2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1" y="231776"/>
            <a:ext cx="2824965" cy="2583344"/>
          </a:xfrm>
        </p:spPr>
        <p:txBody>
          <a:bodyPr anchor="b"/>
          <a:lstStyle>
            <a:lvl1pPr algn="l"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/>
              <a:t>Add text for example Thank you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2B055659-967E-4FB4-B761-219916CE0D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890836"/>
            <a:ext cx="2705129" cy="365125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808080"/>
                </a:solidFill>
              </a:defRPr>
            </a:lvl1pPr>
            <a:lvl2pPr marL="179388" indent="0">
              <a:buNone/>
              <a:defRPr/>
            </a:lvl2pPr>
            <a:lvl3pPr marL="360362" indent="0">
              <a:buNone/>
              <a:defRPr/>
            </a:lvl3pPr>
            <a:lvl4pPr marL="539750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US"/>
              <a:t>Click to add date and/or presenters name</a:t>
            </a:r>
          </a:p>
        </p:txBody>
      </p:sp>
      <p:sp>
        <p:nvSpPr>
          <p:cNvPr id="35" name="Dots">
            <a:extLst>
              <a:ext uri="{FF2B5EF4-FFF2-40B4-BE49-F238E27FC236}">
                <a16:creationId xmlns:a16="http://schemas.microsoft.com/office/drawing/2014/main" id="{4C816F69-5068-4908-9804-E11DD367E853}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51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aphic 19">
            <a:extLst>
              <a:ext uri="{FF2B5EF4-FFF2-40B4-BE49-F238E27FC236}">
                <a16:creationId xmlns:a16="http://schemas.microsoft.com/office/drawing/2014/main" id="{E1AED2E5-EACC-4379-8B86-BDCC33C414F2}"/>
              </a:ext>
            </a:extLst>
          </p:cNvPr>
          <p:cNvGrpSpPr/>
          <p:nvPr/>
        </p:nvGrpSpPr>
        <p:grpSpPr>
          <a:xfrm>
            <a:off x="571125" y="4482250"/>
            <a:ext cx="1535077" cy="256610"/>
            <a:chOff x="301852" y="4913727"/>
            <a:chExt cx="487916" cy="81562"/>
          </a:xfrm>
          <a:solidFill>
            <a:schemeClr val="bg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1" y="231776"/>
            <a:ext cx="2824965" cy="2583344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Add text for example Thank you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2B055659-967E-4FB4-B761-219916CE0D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890836"/>
            <a:ext cx="2705129" cy="365125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DEB59F"/>
                </a:solidFill>
              </a:defRPr>
            </a:lvl1pPr>
            <a:lvl2pPr marL="179388" indent="0">
              <a:buNone/>
              <a:defRPr/>
            </a:lvl2pPr>
            <a:lvl3pPr marL="360362" indent="0">
              <a:buNone/>
              <a:defRPr/>
            </a:lvl3pPr>
            <a:lvl4pPr marL="539750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US"/>
              <a:t>Click to add date and/or presenters name</a:t>
            </a:r>
          </a:p>
        </p:txBody>
      </p:sp>
      <p:sp>
        <p:nvSpPr>
          <p:cNvPr id="35" name="Dots">
            <a:extLst>
              <a:ext uri="{FF2B5EF4-FFF2-40B4-BE49-F238E27FC236}">
                <a16:creationId xmlns:a16="http://schemas.microsoft.com/office/drawing/2014/main" id="{D001CC6F-BFCA-4280-BE24-68BE1C518787}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031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0A3952"/>
          </a:solidFill>
          <a:ln w="9525" cap="rnd" cmpd="sng" algn="ctr">
            <a:solidFill>
              <a:srgbClr val="0A395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501" y="467101"/>
            <a:ext cx="8200013" cy="353174"/>
          </a:xfrm>
        </p:spPr>
        <p:txBody>
          <a:bodyPr/>
          <a:lstStyle>
            <a:lvl1pPr>
              <a:defRPr sz="2550">
                <a:solidFill>
                  <a:srgbClr val="0A395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2051" y="1564222"/>
            <a:ext cx="8200351" cy="306684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7115177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>
          <a:xfrm rot="16200000">
            <a:off x="6775883" y="2736297"/>
            <a:ext cx="4457700" cy="1661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lnSpc>
                <a:spcPct val="90000"/>
              </a:lnSpc>
              <a:spcAft>
                <a:spcPts val="450"/>
              </a:spcAft>
            </a:pPr>
            <a:r>
              <a:rPr lang="en-US" sz="600">
                <a:solidFill>
                  <a:schemeClr val="bg1">
                    <a:lumMod val="50000"/>
                  </a:schemeClr>
                </a:solidFill>
              </a:rPr>
              <a:t>Working draft for discussion purposes only. Information contained in this document does not imply that decisions have been made to take specific action. Any decisions / implementation actions will take place within required social and legal processes. </a:t>
            </a:r>
          </a:p>
        </p:txBody>
      </p:sp>
    </p:spTree>
    <p:extLst>
      <p:ext uri="{BB962C8B-B14F-4D97-AF65-F5344CB8AC3E}">
        <p14:creationId xmlns:p14="http://schemas.microsoft.com/office/powerpoint/2010/main" val="2582843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2" imgH="282" progId="TCLayout.ActiveDocument.1">
                  <p:embed/>
                </p:oleObj>
              </mc:Choice>
              <mc:Fallback>
                <p:oleObj name="think-cell Slide" r:id="rId3" imgW="282" imgH="282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6000" y="144718"/>
            <a:ext cx="8229600" cy="1008000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93701" y="4826000"/>
            <a:ext cx="355600" cy="152400"/>
          </a:xfrm>
        </p:spPr>
        <p:txBody>
          <a:bodyPr/>
          <a:lstStyle/>
          <a:p>
            <a:fld id="{6AAAD50C-6D50-4303-AAC8-9B741327BA3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4252096"/>
      </p:ext>
    </p:extLst>
  </p:cSld>
  <p:clrMapOvr>
    <a:masterClrMapping/>
  </p:clrMapOvr>
  <p:hf hdr="0" ftr="0" dt="0"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page 2">
    <p:bg>
      <p:bgPr>
        <a:solidFill>
          <a:srgbClr val="0639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fi-FI"/>
              <a:t>Click icon to add picture or </a:t>
            </a:r>
            <a:br>
              <a:rPr lang="fi-FI"/>
            </a:br>
            <a:r>
              <a:rPr lang="fi-FI"/>
              <a:t>click the pictureholder and Click Insert/Pictures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400" y="1119600"/>
            <a:ext cx="5205600" cy="1584000"/>
          </a:xfrm>
        </p:spPr>
        <p:txBody>
          <a:bodyPr anchor="b" anchorCtr="0"/>
          <a:lstStyle>
            <a:lvl1pPr>
              <a:lnSpc>
                <a:spcPct val="93000"/>
              </a:lnSpc>
              <a:defRPr sz="500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554400" y="2859736"/>
            <a:ext cx="4093200" cy="1742400"/>
          </a:xfrm>
        </p:spPr>
        <p:txBody>
          <a:bodyPr vert="horz" lIns="0" tIns="0" rIns="324000" bIns="0" rtlCol="0">
            <a:noAutofit/>
          </a:bodyPr>
          <a:lstStyle>
            <a:lvl1pPr marL="0" indent="0">
              <a:buFontTx/>
              <a:buNone/>
              <a:defRPr lang="fi-FI" sz="1600" dirty="0">
                <a:solidFill>
                  <a:srgbClr val="FFFFFF"/>
                </a:solidFill>
              </a:defRPr>
            </a:lvl1pPr>
          </a:lstStyle>
          <a:p>
            <a:pPr lvl="0">
              <a:spcBef>
                <a:spcPts val="0"/>
              </a:spcBef>
            </a:pPr>
            <a:endParaRPr lang="en-GB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644D4AD-7034-5E45-AAAE-D685B84B781D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6" title="Logo"/>
          <p:cNvSpPr>
            <a:spLocks noGrp="1"/>
          </p:cNvSpPr>
          <p:nvPr>
            <p:ph type="body" sz="quarter" idx="22" hasCustomPrompt="1"/>
          </p:nvPr>
        </p:nvSpPr>
        <p:spPr>
          <a:xfrm>
            <a:off x="129600" y="118800"/>
            <a:ext cx="568800" cy="140400"/>
          </a:xfrm>
          <a:blipFill dpi="0"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rIns="0"/>
          <a:lstStyle>
            <a:lvl1pPr marL="0" indent="0">
              <a:buFontTx/>
              <a:buNone/>
              <a:defRPr sz="100">
                <a:solidFill>
                  <a:srgbClr val="E6E6E6"/>
                </a:solidFill>
              </a:defRPr>
            </a:lvl1pPr>
            <a:lvl2pPr marL="342892" indent="0">
              <a:buFontTx/>
              <a:buNone/>
              <a:defRPr sz="800">
                <a:solidFill>
                  <a:schemeClr val="bg2"/>
                </a:solidFill>
              </a:defRPr>
            </a:lvl2pPr>
            <a:lvl3pPr marL="685783" indent="0">
              <a:buFontTx/>
              <a:buNone/>
              <a:defRPr sz="800">
                <a:solidFill>
                  <a:schemeClr val="bg2"/>
                </a:solidFill>
              </a:defRPr>
            </a:lvl3pPr>
            <a:lvl4pPr marL="1028675" indent="0">
              <a:buFontTx/>
              <a:buNone/>
              <a:defRPr sz="800">
                <a:solidFill>
                  <a:schemeClr val="bg2"/>
                </a:solidFill>
              </a:defRPr>
            </a:lvl4pPr>
            <a:lvl5pPr marL="1371566" indent="0">
              <a:buFontTx/>
              <a:buNone/>
              <a:defRPr sz="800">
                <a:solidFill>
                  <a:schemeClr val="bg2"/>
                </a:solidFill>
              </a:defRPr>
            </a:lvl5pPr>
          </a:lstStyle>
          <a:p>
            <a:pPr lvl="0"/>
            <a:r>
              <a:rPr lang="fi-FI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1073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0EA16D7C-5DAB-42B1-AE16-E2BEF490B0E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0592" y="0"/>
            <a:ext cx="1985704" cy="5143500"/>
          </a:xfrm>
          <a:custGeom>
            <a:avLst/>
            <a:gdLst>
              <a:gd name="connsiteX0" fmla="*/ 0 w 5295900"/>
              <a:gd name="connsiteY0" fmla="*/ 0 h 13716000"/>
              <a:gd name="connsiteX1" fmla="*/ 5295900 w 5295900"/>
              <a:gd name="connsiteY1" fmla="*/ 0 h 13716000"/>
              <a:gd name="connsiteX2" fmla="*/ 5295900 w 5295900"/>
              <a:gd name="connsiteY2" fmla="*/ 13716000 h 13716000"/>
              <a:gd name="connsiteX3" fmla="*/ 0 w 5295900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95900" h="13716000">
                <a:moveTo>
                  <a:pt x="0" y="0"/>
                </a:moveTo>
                <a:lnTo>
                  <a:pt x="5295900" y="0"/>
                </a:lnTo>
                <a:lnTo>
                  <a:pt x="5295900" y="13716000"/>
                </a:lnTo>
                <a:lnTo>
                  <a:pt x="0" y="1371600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35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74A84ACA-7A5D-49CC-823F-94671ADE9F4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586296" y="0"/>
            <a:ext cx="1985704" cy="5143500"/>
          </a:xfrm>
          <a:custGeom>
            <a:avLst/>
            <a:gdLst>
              <a:gd name="connsiteX0" fmla="*/ 0 w 5295900"/>
              <a:gd name="connsiteY0" fmla="*/ 0 h 13716000"/>
              <a:gd name="connsiteX1" fmla="*/ 5295900 w 5295900"/>
              <a:gd name="connsiteY1" fmla="*/ 0 h 13716000"/>
              <a:gd name="connsiteX2" fmla="*/ 5295900 w 5295900"/>
              <a:gd name="connsiteY2" fmla="*/ 13716000 h 13716000"/>
              <a:gd name="connsiteX3" fmla="*/ 0 w 5295900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95900" h="13716000">
                <a:moveTo>
                  <a:pt x="0" y="0"/>
                </a:moveTo>
                <a:lnTo>
                  <a:pt x="5295900" y="0"/>
                </a:lnTo>
                <a:lnTo>
                  <a:pt x="5295900" y="13716000"/>
                </a:lnTo>
                <a:lnTo>
                  <a:pt x="0" y="1371600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35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46D6EA88-CE13-4084-A841-0ABAA5A209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2000" y="0"/>
            <a:ext cx="1985704" cy="5143500"/>
          </a:xfrm>
          <a:custGeom>
            <a:avLst/>
            <a:gdLst>
              <a:gd name="connsiteX0" fmla="*/ 0 w 5295900"/>
              <a:gd name="connsiteY0" fmla="*/ 0 h 13716000"/>
              <a:gd name="connsiteX1" fmla="*/ 5295900 w 5295900"/>
              <a:gd name="connsiteY1" fmla="*/ 0 h 13716000"/>
              <a:gd name="connsiteX2" fmla="*/ 5295900 w 5295900"/>
              <a:gd name="connsiteY2" fmla="*/ 13716000 h 13716000"/>
              <a:gd name="connsiteX3" fmla="*/ 0 w 5295900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95900" h="13716000">
                <a:moveTo>
                  <a:pt x="0" y="0"/>
                </a:moveTo>
                <a:lnTo>
                  <a:pt x="5295900" y="0"/>
                </a:lnTo>
                <a:lnTo>
                  <a:pt x="5295900" y="13716000"/>
                </a:lnTo>
                <a:lnTo>
                  <a:pt x="0" y="1371600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35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41">
            <a:extLst>
              <a:ext uri="{FF2B5EF4-FFF2-40B4-BE49-F238E27FC236}">
                <a16:creationId xmlns:a16="http://schemas.microsoft.com/office/drawing/2014/main" id="{D9126DFD-F1EE-4A42-B208-C35B4CD0F0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557704" y="0"/>
            <a:ext cx="1985704" cy="5143500"/>
          </a:xfrm>
          <a:custGeom>
            <a:avLst/>
            <a:gdLst>
              <a:gd name="connsiteX0" fmla="*/ 0 w 5295900"/>
              <a:gd name="connsiteY0" fmla="*/ 0 h 13716000"/>
              <a:gd name="connsiteX1" fmla="*/ 5295900 w 5295900"/>
              <a:gd name="connsiteY1" fmla="*/ 0 h 13716000"/>
              <a:gd name="connsiteX2" fmla="*/ 5295900 w 5295900"/>
              <a:gd name="connsiteY2" fmla="*/ 13716000 h 13716000"/>
              <a:gd name="connsiteX3" fmla="*/ 0 w 5295900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95900" h="13716000">
                <a:moveTo>
                  <a:pt x="0" y="0"/>
                </a:moveTo>
                <a:lnTo>
                  <a:pt x="5295900" y="0"/>
                </a:lnTo>
                <a:lnTo>
                  <a:pt x="5295900" y="13716000"/>
                </a:lnTo>
                <a:lnTo>
                  <a:pt x="0" y="1371600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>
              <a:defRPr lang="en-US" sz="1350">
                <a:solidFill>
                  <a:schemeClr val="tx1">
                    <a:alpha val="73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,</a:t>
            </a:r>
          </a:p>
          <a:p>
            <a:pPr marL="0" lvl="0" indent="0" algn="ctr">
              <a:buNone/>
            </a:pPr>
            <a:r>
              <a:rPr lang="en-US"/>
              <a:t>Drag and Drop</a:t>
            </a:r>
          </a:p>
          <a:p>
            <a:pPr marL="0" lvl="0" indent="0" algn="ctr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5776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4703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picture, 2 Title and Comparison with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DFB68184-CA1A-5240-886F-1684FEC22093}"/>
              </a:ext>
            </a:extLst>
          </p:cNvPr>
          <p:cNvSpPr>
            <a:spLocks noGrp="1" noChangeAspect="1"/>
          </p:cNvSpPr>
          <p:nvPr>
            <p:ph type="pic" idx="14"/>
          </p:nvPr>
        </p:nvSpPr>
        <p:spPr>
          <a:xfrm>
            <a:off x="0" y="0"/>
            <a:ext cx="9144000" cy="3163331"/>
          </a:xfrm>
          <a:solidFill>
            <a:srgbClr val="E0DED8"/>
          </a:solidFill>
        </p:spPr>
        <p:txBody>
          <a:bodyPr anchor="t"/>
          <a:lstStyle>
            <a:lvl1pPr marL="0" indent="0" algn="ctr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6E2D818-929B-3141-929A-46354B0F7448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576262" y="396144"/>
            <a:ext cx="6047113" cy="367946"/>
          </a:xfrm>
        </p:spPr>
        <p:txBody>
          <a:bodyPr rIns="0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  <a:lvl2pPr>
              <a:defRPr sz="900"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263" y="768096"/>
            <a:ext cx="7991475" cy="69919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4D529F2E-8730-8942-9F56-7FAF5E921BB4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576263" y="2190541"/>
            <a:ext cx="1892067" cy="2397335"/>
          </a:xfrm>
          <a:solidFill>
            <a:schemeClr val="tx1"/>
          </a:solidFill>
        </p:spPr>
        <p:txBody>
          <a:bodyPr lIns="251999" tIns="251999" rIns="324000" bIns="251999"/>
          <a:lstStyle>
            <a:lvl1pPr marL="0" indent="0">
              <a:buFontTx/>
              <a:buNone/>
              <a:defRPr sz="14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1000">
                <a:solidFill>
                  <a:schemeClr val="bg2"/>
                </a:solidFill>
              </a:defRPr>
            </a:lvl2pPr>
            <a:lvl3pPr marL="172800">
              <a:defRPr sz="1000">
                <a:solidFill>
                  <a:schemeClr val="bg2"/>
                </a:solidFill>
              </a:defRPr>
            </a:lvl3pPr>
            <a:lvl4pPr marL="345600">
              <a:defRPr sz="1000">
                <a:solidFill>
                  <a:schemeClr val="bg2"/>
                </a:solidFill>
              </a:defRPr>
            </a:lvl4pPr>
            <a:lvl5pPr marL="518400"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Use ”Increase List Level” and ”Decrease List Level” buttons to change list levels (Home/Paragraph)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470E3256-2D9B-BF48-9E15-6C19A171143E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609399" y="2190541"/>
            <a:ext cx="1892067" cy="2397335"/>
          </a:xfrm>
          <a:solidFill>
            <a:schemeClr val="tx1"/>
          </a:solidFill>
        </p:spPr>
        <p:txBody>
          <a:bodyPr lIns="251999" tIns="251999" rIns="324000" bIns="251999"/>
          <a:lstStyle>
            <a:lvl1pPr marL="0" indent="0">
              <a:buFontTx/>
              <a:buNone/>
              <a:defRPr sz="14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1000">
                <a:solidFill>
                  <a:schemeClr val="bg2"/>
                </a:solidFill>
              </a:defRPr>
            </a:lvl2pPr>
            <a:lvl3pPr marL="0">
              <a:defRPr sz="1000">
                <a:solidFill>
                  <a:schemeClr val="bg2"/>
                </a:solidFill>
              </a:defRPr>
            </a:lvl3pPr>
            <a:lvl4pPr marL="345600">
              <a:defRPr sz="1000">
                <a:solidFill>
                  <a:schemeClr val="bg2"/>
                </a:solidFill>
              </a:defRPr>
            </a:lvl4pPr>
            <a:lvl5pPr marL="518400"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Click to add text.</a:t>
            </a:r>
          </a:p>
          <a:p>
            <a:pPr lvl="0"/>
            <a:r>
              <a:rPr lang="en-GB" noProof="0"/>
              <a:t>Do not use tab keys or Bullets button.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F4C72636-DEB4-D344-93A7-3770612C3218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642535" y="2190541"/>
            <a:ext cx="1892067" cy="2397335"/>
          </a:xfrm>
          <a:solidFill>
            <a:schemeClr val="tx1"/>
          </a:solidFill>
        </p:spPr>
        <p:txBody>
          <a:bodyPr lIns="251999" tIns="251999" rIns="324000" bIns="251999"/>
          <a:lstStyle>
            <a:lvl1pPr marL="0" indent="0">
              <a:buFontTx/>
              <a:buNone/>
              <a:defRPr sz="14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1000">
                <a:solidFill>
                  <a:schemeClr val="bg2"/>
                </a:solidFill>
              </a:defRPr>
            </a:lvl2pPr>
            <a:lvl3pPr marL="172800">
              <a:defRPr sz="1000">
                <a:solidFill>
                  <a:schemeClr val="bg2"/>
                </a:solidFill>
              </a:defRPr>
            </a:lvl3pPr>
            <a:lvl4pPr marL="345600">
              <a:defRPr sz="1000">
                <a:solidFill>
                  <a:schemeClr val="bg2"/>
                </a:solidFill>
              </a:defRPr>
            </a:lvl4pPr>
            <a:lvl5pPr marL="518400"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Click to add text.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00A7DE7E-1617-F34E-80FA-A5C290AF61B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675671" y="2190541"/>
            <a:ext cx="1892067" cy="2397335"/>
          </a:xfrm>
          <a:solidFill>
            <a:schemeClr val="tx1"/>
          </a:solidFill>
        </p:spPr>
        <p:txBody>
          <a:bodyPr lIns="251999" tIns="251999" rIns="324000" bIns="251999"/>
          <a:lstStyle>
            <a:lvl1pPr marL="0" indent="0">
              <a:buFontTx/>
              <a:buNone/>
              <a:defRPr sz="14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1000">
                <a:solidFill>
                  <a:schemeClr val="bg2"/>
                </a:solidFill>
              </a:defRPr>
            </a:lvl2pPr>
            <a:lvl3pPr marL="172800">
              <a:defRPr sz="1000">
                <a:solidFill>
                  <a:schemeClr val="bg2"/>
                </a:solidFill>
              </a:defRPr>
            </a:lvl3pPr>
            <a:lvl4pPr marL="345600">
              <a:defRPr sz="1000">
                <a:solidFill>
                  <a:schemeClr val="bg2"/>
                </a:solidFill>
              </a:defRPr>
            </a:lvl4pPr>
            <a:lvl5pPr marL="518400"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Click to add text.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81598B9-D3B3-7B43-9D70-CED5FAD3E0CC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576263" y="1561264"/>
            <a:ext cx="1892067" cy="628650"/>
          </a:xfrm>
          <a:solidFill>
            <a:schemeClr val="bg2"/>
          </a:solidFill>
        </p:spPr>
        <p:txBody>
          <a:bodyPr lIns="251999" tIns="251999" rIns="324000" bIns="251999"/>
          <a:lstStyle>
            <a:lvl1pPr>
              <a:defRPr sz="6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600">
                <a:solidFill>
                  <a:schemeClr val="bg2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2A30670-D364-6047-A608-673B16161AAD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2609399" y="1561264"/>
            <a:ext cx="1892067" cy="628650"/>
          </a:xfrm>
          <a:solidFill>
            <a:schemeClr val="bg2"/>
          </a:solidFill>
        </p:spPr>
        <p:txBody>
          <a:bodyPr lIns="251999" tIns="251999" rIns="324000" bIns="251999"/>
          <a:lstStyle>
            <a:lvl1pPr>
              <a:defRPr sz="6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600">
                <a:solidFill>
                  <a:schemeClr val="bg2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6F0B54F-3CEB-2544-BDA9-17AEE3B344BA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4642535" y="1561264"/>
            <a:ext cx="1892067" cy="628650"/>
          </a:xfrm>
          <a:solidFill>
            <a:schemeClr val="bg2"/>
          </a:solidFill>
        </p:spPr>
        <p:txBody>
          <a:bodyPr lIns="251999" tIns="251999" rIns="324000" bIns="251999"/>
          <a:lstStyle>
            <a:lvl1pPr>
              <a:defRPr sz="6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600">
                <a:solidFill>
                  <a:schemeClr val="bg2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5232D30-99EF-D24E-BDC3-86F8A086831D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6675671" y="1561264"/>
            <a:ext cx="1892067" cy="628650"/>
          </a:xfrm>
          <a:solidFill>
            <a:schemeClr val="bg2"/>
          </a:solidFill>
        </p:spPr>
        <p:txBody>
          <a:bodyPr lIns="251999" tIns="251999" rIns="324000" bIns="251999"/>
          <a:lstStyle>
            <a:lvl1pPr>
              <a:defRPr sz="6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600">
                <a:solidFill>
                  <a:schemeClr val="bg2"/>
                </a:solidFill>
              </a:defRPr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44D4AD-7034-5E45-AAAE-D685B84B781D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8" name="Text Placeholder 6" title="Logo"/>
          <p:cNvSpPr>
            <a:spLocks noGrp="1"/>
          </p:cNvSpPr>
          <p:nvPr>
            <p:ph type="body" sz="quarter" idx="27" hasCustomPrompt="1"/>
          </p:nvPr>
        </p:nvSpPr>
        <p:spPr>
          <a:xfrm>
            <a:off x="129600" y="118800"/>
            <a:ext cx="568800" cy="1404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rIns="0"/>
          <a:lstStyle>
            <a:lvl1pPr marL="0" indent="0">
              <a:buFontTx/>
              <a:buNone/>
              <a:defRPr sz="100">
                <a:solidFill>
                  <a:srgbClr val="E6E6E6"/>
                </a:solidFill>
              </a:defRPr>
            </a:lvl1pPr>
            <a:lvl2pPr marL="342900" indent="0">
              <a:buFontTx/>
              <a:buNone/>
              <a:defRPr sz="800">
                <a:solidFill>
                  <a:schemeClr val="bg2"/>
                </a:solidFill>
              </a:defRPr>
            </a:lvl2pPr>
            <a:lvl3pPr marL="685800" indent="0">
              <a:buFontTx/>
              <a:buNone/>
              <a:defRPr sz="800">
                <a:solidFill>
                  <a:schemeClr val="bg2"/>
                </a:solidFill>
              </a:defRPr>
            </a:lvl3pPr>
            <a:lvl4pPr marL="1028700" indent="0">
              <a:buFontTx/>
              <a:buNone/>
              <a:defRPr sz="800">
                <a:solidFill>
                  <a:schemeClr val="bg2"/>
                </a:solidFill>
              </a:defRPr>
            </a:lvl4pPr>
            <a:lvl5pPr marL="1371600" indent="0">
              <a:buFontTx/>
              <a:buNone/>
              <a:defRPr sz="800">
                <a:solidFill>
                  <a:schemeClr val="bg2"/>
                </a:solidFill>
              </a:defRPr>
            </a:lvl5pPr>
          </a:lstStyle>
          <a:p>
            <a:pPr lvl="0"/>
            <a:r>
              <a:rPr lang="fi-FI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8392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">
    <p:bg>
      <p:bgPr>
        <a:solidFill>
          <a:srgbClr val="0639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400" y="1289635"/>
            <a:ext cx="5205600" cy="2455200"/>
          </a:xfrm>
        </p:spPr>
        <p:txBody>
          <a:bodyPr/>
          <a:lstStyle>
            <a:lvl1pPr>
              <a:lnSpc>
                <a:spcPct val="93000"/>
              </a:lnSpc>
              <a:spcBef>
                <a:spcPts val="1800"/>
              </a:spcBef>
              <a:defRPr sz="50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644D4AD-7034-5E45-AAAE-D685B84B781D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Text Placeholder 6" title="Logo"/>
          <p:cNvSpPr>
            <a:spLocks noGrp="1"/>
          </p:cNvSpPr>
          <p:nvPr>
            <p:ph type="body" sz="quarter" idx="22" hasCustomPrompt="1"/>
          </p:nvPr>
        </p:nvSpPr>
        <p:spPr>
          <a:xfrm>
            <a:off x="129600" y="118800"/>
            <a:ext cx="568800" cy="1404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rIns="0"/>
          <a:lstStyle>
            <a:lvl1pPr marL="0" indent="0">
              <a:buFontTx/>
              <a:buNone/>
              <a:defRPr sz="100">
                <a:solidFill>
                  <a:srgbClr val="E6E6E6"/>
                </a:solidFill>
              </a:defRPr>
            </a:lvl1pPr>
            <a:lvl2pPr marL="342900" indent="0">
              <a:buFontTx/>
              <a:buNone/>
              <a:defRPr sz="800">
                <a:solidFill>
                  <a:schemeClr val="bg2"/>
                </a:solidFill>
              </a:defRPr>
            </a:lvl2pPr>
            <a:lvl3pPr marL="685800" indent="0">
              <a:buFontTx/>
              <a:buNone/>
              <a:defRPr sz="800">
                <a:solidFill>
                  <a:schemeClr val="bg2"/>
                </a:solidFill>
              </a:defRPr>
            </a:lvl3pPr>
            <a:lvl4pPr marL="1028700" indent="0">
              <a:buFontTx/>
              <a:buNone/>
              <a:defRPr sz="800">
                <a:solidFill>
                  <a:schemeClr val="bg2"/>
                </a:solidFill>
              </a:defRPr>
            </a:lvl4pPr>
            <a:lvl5pPr marL="1371600" indent="0">
              <a:buFontTx/>
              <a:buNone/>
              <a:defRPr sz="800">
                <a:solidFill>
                  <a:schemeClr val="bg2"/>
                </a:solidFill>
              </a:defRPr>
            </a:lvl5pPr>
          </a:lstStyle>
          <a:p>
            <a:pPr lvl="0"/>
            <a:r>
              <a:rPr lang="fi-FI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84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3">
    <p:bg>
      <p:bgPr>
        <a:solidFill>
          <a:schemeClr val="accent4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6" name="Graphic 19">
            <a:extLst>
              <a:ext uri="{FF2B5EF4-FFF2-40B4-BE49-F238E27FC236}">
                <a16:creationId xmlns:a16="http://schemas.microsoft.com/office/drawing/2014/main" id="{E1A420AD-4664-4967-8C23-CF0CBC05DA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7280439-DD54-4100-97F9-D7A4A327A01F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92A83F7-90F7-43E5-B1EB-DC34201A4865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53B0482-AECE-4C35-8403-9C3A9A9727ED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86E2943-61E9-4217-B49B-01DB377841C0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80E12CB-F1D3-4C07-8576-FD96F03B29B0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57C2BB1-7F13-42D0-8280-0C6AC5860E21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6009E81-CF94-43ED-98F3-2EFC911AF96D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CCEE56E-EDC8-4088-9D28-243DD5B5F811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04E1F6F-0C47-4DB2-BDA2-87F98787AC86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E5BDFD2-3768-478E-BE3D-E9CEC458B0C4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8EAAD69-61B3-486B-9520-565E1A1FA6CF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3DE9FE4-1F26-41C9-9218-0F02A25B217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BC12A81-E9E3-43DA-98A6-EA7FD8B4C619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78EE2C1-BC5A-40F1-A956-7DF9AE6EFB01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C5E7BAE-2B0C-46BA-9533-F5339965A339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19E3C8D-4C3A-4035-88E3-97BAF26B4B3D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4098F041-905E-445F-AB40-A2186AE0ADB0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2028F34-0815-4940-B5A7-925D59B6E474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995A7C8-F27A-4E78-A9AD-E859CA15B2A4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7A9AE59-A400-43E5-B137-92CBAC612BB7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839046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picture, 2 Title and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DFB68184-CA1A-5240-886F-1684FEC22093}"/>
              </a:ext>
            </a:extLst>
          </p:cNvPr>
          <p:cNvSpPr>
            <a:spLocks noGrp="1" noChangeAspect="1"/>
          </p:cNvSpPr>
          <p:nvPr>
            <p:ph type="pic" idx="14"/>
          </p:nvPr>
        </p:nvSpPr>
        <p:spPr>
          <a:xfrm>
            <a:off x="0" y="0"/>
            <a:ext cx="9144000" cy="3163331"/>
          </a:xfrm>
          <a:solidFill>
            <a:srgbClr val="E0DED8"/>
          </a:solidFill>
        </p:spPr>
        <p:txBody>
          <a:bodyPr anchor="t"/>
          <a:lstStyle>
            <a:lvl1pPr marL="0" indent="0" algn="ctr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264" y="768096"/>
            <a:ext cx="3400314" cy="69919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DEEAA0-107A-CB4C-9D52-4CEE5A94FA6B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76263" y="1477927"/>
            <a:ext cx="3420971" cy="573296"/>
          </a:xfrm>
        </p:spPr>
        <p:txBody>
          <a:bodyPr rIns="0"/>
          <a:lstStyle>
            <a:lvl1pPr marL="0" indent="0">
              <a:lnSpc>
                <a:spcPct val="100000"/>
              </a:lnSpc>
              <a:buFontTx/>
              <a:buNone/>
              <a:defRPr sz="1400" b="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</a:lstStyle>
          <a:p>
            <a:pPr lvl="0"/>
            <a:r>
              <a:rPr lang="fi-FI" noProof="0"/>
              <a:t>Click to add text.</a:t>
            </a:r>
            <a:endParaRPr lang="en-GB" noProof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BE662F9-7507-5F49-898E-4048DDFBFE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67051" y="2435826"/>
            <a:ext cx="2573002" cy="2152049"/>
          </a:xfrm>
          <a:solidFill>
            <a:schemeClr val="tx1"/>
          </a:solidFill>
        </p:spPr>
        <p:txBody>
          <a:bodyPr lIns="251999" tIns="251999" rIns="324000" bIns="251999"/>
          <a:lstStyle>
            <a:lvl1pPr marL="0" indent="0">
              <a:buFontTx/>
              <a:buNone/>
              <a:defRPr sz="14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1200">
                <a:solidFill>
                  <a:schemeClr val="bg2"/>
                </a:solidFill>
              </a:defRPr>
            </a:lvl2pPr>
            <a:lvl3pPr marL="172800">
              <a:defRPr sz="1200">
                <a:solidFill>
                  <a:schemeClr val="bg2"/>
                </a:solidFill>
              </a:defRPr>
            </a:lvl3pPr>
            <a:lvl4pPr marL="345600">
              <a:defRPr sz="1200">
                <a:solidFill>
                  <a:schemeClr val="bg2"/>
                </a:solidFill>
              </a:defRPr>
            </a:lvl4pPr>
            <a:lvl5pPr marL="518400"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Click to add text.</a:t>
            </a:r>
            <a:br>
              <a:rPr lang="en-GB" noProof="0"/>
            </a:br>
            <a:r>
              <a:rPr lang="en-GB" noProof="0"/>
              <a:t>Use ”Increase List Level” and ”Decrease List Level” buttons to change list levels (Home/Paragraph)</a:t>
            </a:r>
            <a:br>
              <a:rPr lang="en-GB" noProof="0"/>
            </a:br>
            <a:r>
              <a:rPr lang="en-GB" noProof="0"/>
              <a:t>Do not use tab keys or Bullets button.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2951B31-E4AA-5642-9E83-01DEFC96BC8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287309" y="2435825"/>
            <a:ext cx="2573002" cy="2152049"/>
          </a:xfrm>
          <a:solidFill>
            <a:schemeClr val="tx1"/>
          </a:solidFill>
        </p:spPr>
        <p:txBody>
          <a:bodyPr lIns="251999" tIns="251999" rIns="324000" bIns="251999"/>
          <a:lstStyle>
            <a:lvl1pPr marL="0" indent="0">
              <a:buFontTx/>
              <a:buNone/>
              <a:defRPr sz="14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1200">
                <a:solidFill>
                  <a:schemeClr val="bg2"/>
                </a:solidFill>
              </a:defRPr>
            </a:lvl2pPr>
            <a:lvl3pPr marL="172800">
              <a:defRPr sz="1200">
                <a:solidFill>
                  <a:schemeClr val="bg2"/>
                </a:solidFill>
              </a:defRPr>
            </a:lvl3pPr>
            <a:lvl4pPr marL="345600">
              <a:defRPr sz="1200">
                <a:solidFill>
                  <a:schemeClr val="bg2"/>
                </a:solidFill>
              </a:defRPr>
            </a:lvl4pPr>
            <a:lvl5pPr marL="518400"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Click to add text.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fi-FI" noProof="0"/>
              <a:t>Third level</a:t>
            </a:r>
          </a:p>
          <a:p>
            <a:pPr lvl="3"/>
            <a:r>
              <a:rPr lang="fi-FI" noProof="0"/>
              <a:t>Fourth level</a:t>
            </a:r>
          </a:p>
          <a:p>
            <a:pPr lvl="4"/>
            <a:r>
              <a:rPr lang="fi-FI" noProof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23E5C01-5525-0E4F-BFEE-0E8F1EAE1014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5994736" y="2435826"/>
            <a:ext cx="2573002" cy="2152049"/>
          </a:xfrm>
          <a:solidFill>
            <a:schemeClr val="tx1"/>
          </a:solidFill>
        </p:spPr>
        <p:txBody>
          <a:bodyPr lIns="251999" tIns="251999" rIns="324000" bIns="251999"/>
          <a:lstStyle>
            <a:lvl1pPr marL="0" indent="0">
              <a:buFontTx/>
              <a:buNone/>
              <a:defRPr sz="140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1200">
                <a:solidFill>
                  <a:schemeClr val="bg2"/>
                </a:solidFill>
              </a:defRPr>
            </a:lvl2pPr>
            <a:lvl3pPr marL="172800" indent="-171450"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</a:defRPr>
            </a:lvl3pPr>
            <a:lvl4pPr marL="345600">
              <a:defRPr sz="1200">
                <a:solidFill>
                  <a:schemeClr val="bg2"/>
                </a:solidFill>
              </a:defRPr>
            </a:lvl4pPr>
            <a:lvl5pPr marL="518400"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Click to add text.</a:t>
            </a:r>
          </a:p>
          <a:p>
            <a:pPr lvl="1"/>
            <a:r>
              <a:rPr lang="en-GB" noProof="0"/>
              <a:t>Second level 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fi-FI" noProof="0"/>
              <a:t>Fourth level</a:t>
            </a:r>
          </a:p>
          <a:p>
            <a:pPr lvl="4"/>
            <a:r>
              <a:rPr lang="fi-FI" noProof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44D4AD-7034-5E45-AAAE-D685B84B781D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2" name="Text Placeholder 6" title="Logo"/>
          <p:cNvSpPr>
            <a:spLocks noGrp="1"/>
          </p:cNvSpPr>
          <p:nvPr>
            <p:ph type="body" sz="quarter" idx="22" hasCustomPrompt="1"/>
          </p:nvPr>
        </p:nvSpPr>
        <p:spPr>
          <a:xfrm>
            <a:off x="129600" y="118800"/>
            <a:ext cx="568800" cy="1404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rIns="0"/>
          <a:lstStyle>
            <a:lvl1pPr marL="0" indent="0">
              <a:buFontTx/>
              <a:buNone/>
              <a:defRPr sz="100">
                <a:solidFill>
                  <a:srgbClr val="E6E6E6"/>
                </a:solidFill>
              </a:defRPr>
            </a:lvl1pPr>
            <a:lvl2pPr marL="342900" indent="0">
              <a:buFontTx/>
              <a:buNone/>
              <a:defRPr sz="800">
                <a:solidFill>
                  <a:schemeClr val="bg2"/>
                </a:solidFill>
              </a:defRPr>
            </a:lvl2pPr>
            <a:lvl3pPr marL="685800" indent="0">
              <a:buFontTx/>
              <a:buNone/>
              <a:defRPr sz="800">
                <a:solidFill>
                  <a:schemeClr val="bg2"/>
                </a:solidFill>
              </a:defRPr>
            </a:lvl3pPr>
            <a:lvl4pPr marL="1028700" indent="0">
              <a:buFontTx/>
              <a:buNone/>
              <a:defRPr sz="800">
                <a:solidFill>
                  <a:schemeClr val="bg2"/>
                </a:solidFill>
              </a:defRPr>
            </a:lvl4pPr>
            <a:lvl5pPr marL="1371600" indent="0">
              <a:buFontTx/>
              <a:buNone/>
              <a:defRPr sz="800">
                <a:solidFill>
                  <a:schemeClr val="bg2"/>
                </a:solidFill>
              </a:defRPr>
            </a:lvl5pPr>
          </a:lstStyle>
          <a:p>
            <a:pPr lvl="0"/>
            <a:r>
              <a:rPr lang="fi-FI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1261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4965596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3785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and pattern">
    <p:bg>
      <p:bgPr>
        <a:solidFill>
          <a:schemeClr val="accent4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aphic 19">
            <a:extLst>
              <a:ext uri="{FF2B5EF4-FFF2-40B4-BE49-F238E27FC236}">
                <a16:creationId xmlns:a16="http://schemas.microsoft.com/office/drawing/2014/main" id="{850DDEEC-1DA5-43EB-939E-82FF5ACCA3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13FBF61D-E439-4D28-8ECE-FDA47454CD5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C1C645A-DC52-470C-8192-4ACC478B575D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4EE0C85-D248-4D0F-9C19-EF4B13DB7F9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BBE9197-611F-475B-BD25-0EC8A86BCA6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FA5CD69-A94D-4883-AC01-E6FF3F447E85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FA951B3-CA7A-468B-B334-A2BFCA9B6D00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1EE9E62-C5E7-42B5-BE8A-6275574A1393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B911DB0-4A27-441B-A7B8-69B99118636B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565D296-D101-4F16-93E6-72BC90584051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9F9CB12-4993-4BFE-9F4D-18F8627B090C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A65F25D-2B27-450C-B8BD-71565C55980C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53FB610-E3D3-4A7D-9898-BAAEE6E25E11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7742BC4-19B8-47F0-ABB5-BEBAAD938562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735A104-5357-43BA-B08F-A7221584497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140844B-29B5-4DCA-9975-95116E5F6DC7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FFB4B08-799A-4724-AE06-B64F9A8D7769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4F9E24C-A66D-459D-8473-482CB2591E26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C8C41A1-AAC4-4958-9D85-8193A19FD590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A7557AC-223E-4A56-9B79-4606698704B3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7E06773-FAC4-4C97-8B36-F9AD4BA9B9D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77708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3 and subtitle">
    <p:bg>
      <p:bgPr>
        <a:solidFill>
          <a:schemeClr val="accent4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396000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36B8BE9-BB36-4A36-9F26-11708C686D0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87337" y="735013"/>
            <a:ext cx="8569325" cy="252412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subtitle</a:t>
            </a:r>
            <a:endParaRPr lang="en-GB" dirty="0"/>
          </a:p>
        </p:txBody>
      </p:sp>
      <p:grpSp>
        <p:nvGrpSpPr>
          <p:cNvPr id="8" name="Graphic 19">
            <a:extLst>
              <a:ext uri="{FF2B5EF4-FFF2-40B4-BE49-F238E27FC236}">
                <a16:creationId xmlns:a16="http://schemas.microsoft.com/office/drawing/2014/main" id="{0A648DE4-485C-4CD3-93CF-65AA4C1B3D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E39939B-8239-4A6B-AD9E-86EFD72E75BA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2BF09CE-3E09-48EE-ABF6-6B8EBC69E15F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2C9FC79-1ED1-430F-9C5D-0F32619E7CF8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872B045-6E5F-4F4E-81AC-8EAA5436EA3C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A155D9F-0B11-4A02-A5E8-25F83D6CA22D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B7BD3A5-C40E-4899-801C-AEDB5AB52ACC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A932660-79BD-403C-B905-7FFEDDA88D7D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2BD8A76-1907-4EF6-AE1B-2310B82280D8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3700A09-D5A1-42A8-BAE3-BBD0859BA2E9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433D047-15E2-447B-8A0C-61C569F6CA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3CF639E-3D76-41C1-8F31-832B794D1B76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EF5EC6A-AB60-49AB-9EDE-A865DB7F42A3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EF469AC-EC76-49F5-95F1-FFB0C4387D0B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30BC3CC-6668-41BB-A498-D2F712002A7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99C055A-7378-4DE3-872B-3039830C8DE8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85CEBDB-01CC-4CAC-8BCF-2897B853BCED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D94D193-773A-4280-8CB8-26746A5FACCC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E24820A-465D-4809-A8AC-2BC24AF07305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2E60FA5-9969-4254-91CE-F67ABD83DF2F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554149B-F0FA-412D-B1DA-7B349E3FC8E0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590623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4"/>
            <a:ext cx="7524750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7338" y="1384301"/>
            <a:ext cx="75247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                                                                                                                                                                                                                Press ENTER then TAB to view next text style                                                                                                                                                  Press SHIFT+TAB to view previous text styl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4520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and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4"/>
            <a:ext cx="7524750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7338" y="1384301"/>
            <a:ext cx="75247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                                                                                                                                                                                                                 Press ENTER then TAB to view next text style                                                                                                                                                  Press SHIFT+TAB to view previous text styl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6205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0" name="Graphic 19">
            <a:extLst>
              <a:ext uri="{FF2B5EF4-FFF2-40B4-BE49-F238E27FC236}">
                <a16:creationId xmlns:a16="http://schemas.microsoft.com/office/drawing/2014/main" id="{59D87852-F834-409C-B191-0E3DB7829D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DF0FC44-919D-4D5C-BEDE-797DF9691A1F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2253D34-D437-45DF-84B9-D1CE60A1D188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40F4A8E-A03D-44B8-8474-1E1C3A2C5F7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FE8BD5B-94B5-4CAD-BE37-5FE1AD4E054A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B76B74-3ECE-4814-94B0-D91AF2A16645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3F50BF5-3D0F-4E32-9548-2354410572D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7BE7FA7-6CA4-4917-9C43-7B3C45C3A74D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EF1529-5969-4764-ADDC-55D2BEFAA9E0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82530C-BFF7-4FFE-89DD-F04656417F4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C00ED5B-069D-4629-9913-B89C79468A99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0DE64EC-1D8A-4A18-AA0D-966EA50380E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DD7AA4-96EE-4BE7-9AA6-FA06015C4658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FFBFE74-5BE0-4D88-9236-1490CB17271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920FB49-B53C-4555-9E94-A490506760C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C284678-601C-4037-8C9A-B5312F4A0C7A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C680057-9F14-40E7-A752-ED40510F485F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13A42F-A8E7-44E3-BB4A-7C763B911329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E738A0-7E88-4E9C-B9B3-96C293DE9CE9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EAB8D02-ECE2-4190-8241-1DF731560355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6C8C16D-3A30-4ADF-A1E1-5E5668E7D70F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5999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3">
    <p:bg>
      <p:bgPr>
        <a:solidFill>
          <a:srgbClr val="F7EAE4">
            <a:alpha val="25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1B9C4FDA-47FC-4EF4-87B8-F8831D0B6EFD}"/>
              </a:ext>
            </a:extLst>
          </p:cNvPr>
          <p:cNvSpPr/>
          <p:nvPr userDrawn="1"/>
        </p:nvSpPr>
        <p:spPr>
          <a:xfrm>
            <a:off x="5466988" y="0"/>
            <a:ext cx="3677012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9F08C50D-C580-4576-ABA3-0C6EDE50A78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34626" y="0"/>
            <a:ext cx="3711600" cy="5143500"/>
          </a:xfrm>
          <a:custGeom>
            <a:avLst/>
            <a:gdLst>
              <a:gd name="connsiteX0" fmla="*/ 142240 w 3708000"/>
              <a:gd name="connsiteY0" fmla="*/ 2070213 h 5143500"/>
              <a:gd name="connsiteX1" fmla="*/ 129373 w 3708000"/>
              <a:gd name="connsiteY1" fmla="*/ 2081770 h 5143500"/>
              <a:gd name="connsiteX2" fmla="*/ 129373 w 3708000"/>
              <a:gd name="connsiteY2" fmla="*/ 2081817 h 5143500"/>
              <a:gd name="connsiteX3" fmla="*/ 141900 w 3708000"/>
              <a:gd name="connsiteY3" fmla="*/ 2093986 h 5143500"/>
              <a:gd name="connsiteX4" fmla="*/ 154416 w 3708000"/>
              <a:gd name="connsiteY4" fmla="*/ 2082425 h 5143500"/>
              <a:gd name="connsiteX5" fmla="*/ 142240 w 3708000"/>
              <a:gd name="connsiteY5" fmla="*/ 2070213 h 5143500"/>
              <a:gd name="connsiteX6" fmla="*/ 142531 w 3708000"/>
              <a:gd name="connsiteY6" fmla="*/ 1765449 h 5143500"/>
              <a:gd name="connsiteX7" fmla="*/ 116798 w 3708000"/>
              <a:gd name="connsiteY7" fmla="*/ 1788657 h 5143500"/>
              <a:gd name="connsiteX8" fmla="*/ 116798 w 3708000"/>
              <a:gd name="connsiteY8" fmla="*/ 1788707 h 5143500"/>
              <a:gd name="connsiteX9" fmla="*/ 141899 w 3708000"/>
              <a:gd name="connsiteY9" fmla="*/ 1813090 h 5143500"/>
              <a:gd name="connsiteX10" fmla="*/ 166987 w 3708000"/>
              <a:gd name="connsiteY10" fmla="*/ 1789873 h 5143500"/>
              <a:gd name="connsiteX11" fmla="*/ 142531 w 3708000"/>
              <a:gd name="connsiteY11" fmla="*/ 1765449 h 5143500"/>
              <a:gd name="connsiteX12" fmla="*/ 142240 w 3708000"/>
              <a:gd name="connsiteY12" fmla="*/ 1484172 h 5143500"/>
              <a:gd name="connsiteX13" fmla="*/ 129373 w 3708000"/>
              <a:gd name="connsiteY13" fmla="*/ 1495729 h 5143500"/>
              <a:gd name="connsiteX14" fmla="*/ 129373 w 3708000"/>
              <a:gd name="connsiteY14" fmla="*/ 1495874 h 5143500"/>
              <a:gd name="connsiteX15" fmla="*/ 141899 w 3708000"/>
              <a:gd name="connsiteY15" fmla="*/ 1507945 h 5143500"/>
              <a:gd name="connsiteX16" fmla="*/ 154416 w 3708000"/>
              <a:gd name="connsiteY16" fmla="*/ 1496384 h 5143500"/>
              <a:gd name="connsiteX17" fmla="*/ 142240 w 3708000"/>
              <a:gd name="connsiteY17" fmla="*/ 1484172 h 5143500"/>
              <a:gd name="connsiteX18" fmla="*/ 142240 w 3708000"/>
              <a:gd name="connsiteY18" fmla="*/ 1191246 h 5143500"/>
              <a:gd name="connsiteX19" fmla="*/ 129373 w 3708000"/>
              <a:gd name="connsiteY19" fmla="*/ 1202803 h 5143500"/>
              <a:gd name="connsiteX20" fmla="*/ 129373 w 3708000"/>
              <a:gd name="connsiteY20" fmla="*/ 1202948 h 5143500"/>
              <a:gd name="connsiteX21" fmla="*/ 141899 w 3708000"/>
              <a:gd name="connsiteY21" fmla="*/ 1215019 h 5143500"/>
              <a:gd name="connsiteX22" fmla="*/ 154416 w 3708000"/>
              <a:gd name="connsiteY22" fmla="*/ 1203458 h 5143500"/>
              <a:gd name="connsiteX23" fmla="*/ 142240 w 3708000"/>
              <a:gd name="connsiteY23" fmla="*/ 1191246 h 5143500"/>
              <a:gd name="connsiteX24" fmla="*/ 142191 w 3708000"/>
              <a:gd name="connsiteY24" fmla="*/ 898320 h 5143500"/>
              <a:gd name="connsiteX25" fmla="*/ 129373 w 3708000"/>
              <a:gd name="connsiteY25" fmla="*/ 909924 h 5143500"/>
              <a:gd name="connsiteX26" fmla="*/ 141900 w 3708000"/>
              <a:gd name="connsiteY26" fmla="*/ 922093 h 5143500"/>
              <a:gd name="connsiteX27" fmla="*/ 154421 w 3708000"/>
              <a:gd name="connsiteY27" fmla="*/ 910486 h 5143500"/>
              <a:gd name="connsiteX28" fmla="*/ 142191 w 3708000"/>
              <a:gd name="connsiteY28" fmla="*/ 898320 h 5143500"/>
              <a:gd name="connsiteX29" fmla="*/ 142486 w 3708000"/>
              <a:gd name="connsiteY29" fmla="*/ 593738 h 5143500"/>
              <a:gd name="connsiteX30" fmla="*/ 116798 w 3708000"/>
              <a:gd name="connsiteY30" fmla="*/ 616998 h 5143500"/>
              <a:gd name="connsiteX31" fmla="*/ 141900 w 3708000"/>
              <a:gd name="connsiteY31" fmla="*/ 641384 h 5143500"/>
              <a:gd name="connsiteX32" fmla="*/ 166986 w 3708000"/>
              <a:gd name="connsiteY32" fmla="*/ 618121 h 5143500"/>
              <a:gd name="connsiteX33" fmla="*/ 142486 w 3708000"/>
              <a:gd name="connsiteY33" fmla="*/ 593738 h 5143500"/>
              <a:gd name="connsiteX34" fmla="*/ 142191 w 3708000"/>
              <a:gd name="connsiteY34" fmla="*/ 312467 h 5143500"/>
              <a:gd name="connsiteX35" fmla="*/ 129373 w 3708000"/>
              <a:gd name="connsiteY35" fmla="*/ 324071 h 5143500"/>
              <a:gd name="connsiteX36" fmla="*/ 141900 w 3708000"/>
              <a:gd name="connsiteY36" fmla="*/ 336240 h 5143500"/>
              <a:gd name="connsiteX37" fmla="*/ 154421 w 3708000"/>
              <a:gd name="connsiteY37" fmla="*/ 324633 h 5143500"/>
              <a:gd name="connsiteX38" fmla="*/ 142191 w 3708000"/>
              <a:gd name="connsiteY38" fmla="*/ 312467 h 5143500"/>
              <a:gd name="connsiteX39" fmla="*/ 0 w 3708000"/>
              <a:gd name="connsiteY39" fmla="*/ 0 h 5143500"/>
              <a:gd name="connsiteX40" fmla="*/ 3708000 w 3708000"/>
              <a:gd name="connsiteY40" fmla="*/ 0 h 5143500"/>
              <a:gd name="connsiteX41" fmla="*/ 3708000 w 3708000"/>
              <a:gd name="connsiteY41" fmla="*/ 5143500 h 5143500"/>
              <a:gd name="connsiteX42" fmla="*/ 0 w 3708000"/>
              <a:gd name="connsiteY4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3708000" h="5143500">
                <a:moveTo>
                  <a:pt x="142240" y="2070213"/>
                </a:moveTo>
                <a:cubicBezTo>
                  <a:pt x="135327" y="2070030"/>
                  <a:pt x="129566" y="2075207"/>
                  <a:pt x="129373" y="2081770"/>
                </a:cubicBezTo>
                <a:cubicBezTo>
                  <a:pt x="129373" y="2081784"/>
                  <a:pt x="129373" y="2081802"/>
                  <a:pt x="129373" y="2081817"/>
                </a:cubicBezTo>
                <a:cubicBezTo>
                  <a:pt x="129289" y="2088463"/>
                  <a:pt x="134903" y="2093912"/>
                  <a:pt x="141900" y="2093986"/>
                </a:cubicBezTo>
                <a:cubicBezTo>
                  <a:pt x="148681" y="2093982"/>
                  <a:pt x="154228" y="2088862"/>
                  <a:pt x="154416" y="2082425"/>
                </a:cubicBezTo>
                <a:cubicBezTo>
                  <a:pt x="154608" y="2075863"/>
                  <a:pt x="149155" y="2070395"/>
                  <a:pt x="142240" y="2070213"/>
                </a:cubicBezTo>
                <a:close/>
                <a:moveTo>
                  <a:pt x="142531" y="1765449"/>
                </a:moveTo>
                <a:cubicBezTo>
                  <a:pt x="128673" y="1765111"/>
                  <a:pt x="117153" y="1775503"/>
                  <a:pt x="116798" y="1788657"/>
                </a:cubicBezTo>
                <a:cubicBezTo>
                  <a:pt x="116798" y="1788675"/>
                  <a:pt x="116798" y="1788689"/>
                  <a:pt x="116798" y="1788707"/>
                </a:cubicBezTo>
                <a:cubicBezTo>
                  <a:pt x="116635" y="1802020"/>
                  <a:pt x="127874" y="1812936"/>
                  <a:pt x="141899" y="1813090"/>
                </a:cubicBezTo>
                <a:cubicBezTo>
                  <a:pt x="155511" y="1813086"/>
                  <a:pt x="166635" y="1802788"/>
                  <a:pt x="166987" y="1789873"/>
                </a:cubicBezTo>
                <a:cubicBezTo>
                  <a:pt x="167337" y="1776720"/>
                  <a:pt x="156393" y="1765781"/>
                  <a:pt x="142531" y="1765449"/>
                </a:cubicBezTo>
                <a:close/>
                <a:moveTo>
                  <a:pt x="142240" y="1484172"/>
                </a:moveTo>
                <a:cubicBezTo>
                  <a:pt x="135326" y="1483989"/>
                  <a:pt x="129565" y="1489166"/>
                  <a:pt x="129373" y="1495729"/>
                </a:cubicBezTo>
                <a:cubicBezTo>
                  <a:pt x="129373" y="1495776"/>
                  <a:pt x="129373" y="1495823"/>
                  <a:pt x="129373" y="1495874"/>
                </a:cubicBezTo>
                <a:cubicBezTo>
                  <a:pt x="129319" y="1502488"/>
                  <a:pt x="134926" y="1507895"/>
                  <a:pt x="141899" y="1507945"/>
                </a:cubicBezTo>
                <a:cubicBezTo>
                  <a:pt x="148680" y="1507941"/>
                  <a:pt x="154228" y="1502821"/>
                  <a:pt x="154416" y="1496384"/>
                </a:cubicBezTo>
                <a:cubicBezTo>
                  <a:pt x="154608" y="1489822"/>
                  <a:pt x="149154" y="1484354"/>
                  <a:pt x="142240" y="1484172"/>
                </a:cubicBezTo>
                <a:close/>
                <a:moveTo>
                  <a:pt x="142240" y="1191246"/>
                </a:moveTo>
                <a:cubicBezTo>
                  <a:pt x="135326" y="1191064"/>
                  <a:pt x="129565" y="1196240"/>
                  <a:pt x="129373" y="1202803"/>
                </a:cubicBezTo>
                <a:cubicBezTo>
                  <a:pt x="129373" y="1202850"/>
                  <a:pt x="129373" y="1202897"/>
                  <a:pt x="129373" y="1202948"/>
                </a:cubicBezTo>
                <a:cubicBezTo>
                  <a:pt x="129319" y="1209562"/>
                  <a:pt x="134926" y="1214969"/>
                  <a:pt x="141899" y="1215019"/>
                </a:cubicBezTo>
                <a:cubicBezTo>
                  <a:pt x="148680" y="1215015"/>
                  <a:pt x="154228" y="1209895"/>
                  <a:pt x="154416" y="1203458"/>
                </a:cubicBezTo>
                <a:cubicBezTo>
                  <a:pt x="154608" y="1196896"/>
                  <a:pt x="149154" y="1191428"/>
                  <a:pt x="142240" y="1191246"/>
                </a:cubicBezTo>
                <a:close/>
                <a:moveTo>
                  <a:pt x="142191" y="898320"/>
                </a:moveTo>
                <a:cubicBezTo>
                  <a:pt x="135277" y="898165"/>
                  <a:pt x="129537" y="903361"/>
                  <a:pt x="129373" y="909924"/>
                </a:cubicBezTo>
                <a:cubicBezTo>
                  <a:pt x="129294" y="916570"/>
                  <a:pt x="134903" y="922019"/>
                  <a:pt x="141900" y="922093"/>
                </a:cubicBezTo>
                <a:cubicBezTo>
                  <a:pt x="148701" y="922093"/>
                  <a:pt x="154258" y="916941"/>
                  <a:pt x="154421" y="910486"/>
                </a:cubicBezTo>
                <a:cubicBezTo>
                  <a:pt x="154583" y="903923"/>
                  <a:pt x="149109" y="898474"/>
                  <a:pt x="142191" y="898320"/>
                </a:cubicBezTo>
                <a:close/>
                <a:moveTo>
                  <a:pt x="142486" y="593738"/>
                </a:moveTo>
                <a:cubicBezTo>
                  <a:pt x="128623" y="593429"/>
                  <a:pt x="117123" y="603844"/>
                  <a:pt x="116798" y="616998"/>
                </a:cubicBezTo>
                <a:cubicBezTo>
                  <a:pt x="116660" y="630301"/>
                  <a:pt x="127884" y="641207"/>
                  <a:pt x="141900" y="641384"/>
                </a:cubicBezTo>
                <a:cubicBezTo>
                  <a:pt x="155531" y="641381"/>
                  <a:pt x="166666" y="631054"/>
                  <a:pt x="166986" y="618121"/>
                </a:cubicBezTo>
                <a:cubicBezTo>
                  <a:pt x="167312" y="604968"/>
                  <a:pt x="156344" y="594052"/>
                  <a:pt x="142486" y="593738"/>
                </a:cubicBezTo>
                <a:close/>
                <a:moveTo>
                  <a:pt x="142191" y="312467"/>
                </a:moveTo>
                <a:cubicBezTo>
                  <a:pt x="135277" y="312312"/>
                  <a:pt x="129537" y="317508"/>
                  <a:pt x="129373" y="324071"/>
                </a:cubicBezTo>
                <a:cubicBezTo>
                  <a:pt x="129294" y="330717"/>
                  <a:pt x="134903" y="336166"/>
                  <a:pt x="141900" y="336240"/>
                </a:cubicBezTo>
                <a:cubicBezTo>
                  <a:pt x="148701" y="336240"/>
                  <a:pt x="154258" y="331088"/>
                  <a:pt x="154421" y="324633"/>
                </a:cubicBezTo>
                <a:cubicBezTo>
                  <a:pt x="154583" y="318071"/>
                  <a:pt x="149109" y="312621"/>
                  <a:pt x="142191" y="312467"/>
                </a:cubicBezTo>
                <a:close/>
                <a:moveTo>
                  <a:pt x="0" y="0"/>
                </a:moveTo>
                <a:lnTo>
                  <a:pt x="3708000" y="0"/>
                </a:lnTo>
                <a:lnTo>
                  <a:pt x="3708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  <a:endParaRPr lang="en-GB" dirty="0"/>
          </a:p>
        </p:txBody>
      </p:sp>
      <p:sp>
        <p:nvSpPr>
          <p:cNvPr id="38" name="Dots">
            <a:extLst>
              <a:ext uri="{FF2B5EF4-FFF2-40B4-BE49-F238E27FC236}">
                <a16:creationId xmlns:a16="http://schemas.microsoft.com/office/drawing/2014/main" id="{73DE4581-E0EA-4A8F-A722-4EDE83490D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3783671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1" y="231776"/>
            <a:ext cx="4104000" cy="2583344"/>
          </a:xfrm>
        </p:spPr>
        <p:txBody>
          <a:bodyPr anchor="b"/>
          <a:lstStyle>
            <a:lvl1pPr algn="l"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6261" y="2933271"/>
            <a:ext cx="4104000" cy="1008000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add sub title</a:t>
            </a:r>
          </a:p>
        </p:txBody>
      </p:sp>
      <p:grpSp>
        <p:nvGrpSpPr>
          <p:cNvPr id="11" name="Logo">
            <a:extLst>
              <a:ext uri="{FF2B5EF4-FFF2-40B4-BE49-F238E27FC236}">
                <a16:creationId xmlns:a16="http://schemas.microsoft.com/office/drawing/2014/main" id="{E1AED2E5-EACC-4379-8B86-BDCC33C41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71125" y="4482250"/>
            <a:ext cx="1535077" cy="256610"/>
            <a:chOff x="301852" y="4913727"/>
            <a:chExt cx="487916" cy="81562"/>
          </a:xfrm>
          <a:solidFill>
            <a:schemeClr val="accent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9A30684-A5A5-4C39-B1C5-51CC46FDC0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958761"/>
            <a:ext cx="4104000" cy="36512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655B54"/>
                </a:solidFill>
              </a:defRPr>
            </a:lvl1pPr>
            <a:lvl2pPr marL="179388" indent="0">
              <a:buNone/>
              <a:defRPr/>
            </a:lvl2pPr>
            <a:lvl3pPr marL="360362" indent="0">
              <a:buNone/>
              <a:defRPr/>
            </a:lvl3pPr>
            <a:lvl4pPr marL="539750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GB"/>
              <a:t>Click to add date and/or presenters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8022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1161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4"/>
            <a:ext cx="7524750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623EF67-4CB8-6ACA-E9C0-4ED3461B46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1384300"/>
            <a:ext cx="36004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                                                                      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6924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2">
    <p:bg>
      <p:bgPr>
        <a:solidFill>
          <a:schemeClr val="accent4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4"/>
            <a:ext cx="7524750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07A6ED88-96D7-B453-0B64-372EA8B119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1384300"/>
            <a:ext cx="3600450" cy="3240088"/>
          </a:xfrm>
        </p:spPr>
        <p:txBody>
          <a:bodyPr/>
          <a:lstStyle/>
          <a:p>
            <a:pPr lvl="0"/>
            <a:r>
              <a:rPr lang="en-US" dirty="0"/>
              <a:t>Click to add text                                                                       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9" name="Graphic 19">
            <a:extLst>
              <a:ext uri="{FF2B5EF4-FFF2-40B4-BE49-F238E27FC236}">
                <a16:creationId xmlns:a16="http://schemas.microsoft.com/office/drawing/2014/main" id="{02AF89FC-84AD-457F-A215-4C444DF5FD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D05FC70-CE33-4A87-8449-E1B9B0F82DAD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C51FA43-2BC5-4E38-8E78-05643F05832B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2AD1503-2D75-4882-BC73-CD43EC468BE0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088984F-6771-4FCE-9457-AEDF37C54B9A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9C64356-1910-427B-A1E3-9D582C7BCD66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71CB873-8E26-4127-B72A-4D1F50A56179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74DB33F-0727-4BEB-BB34-8FF56542E7B4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93BE8DE-AF52-4D3C-8D26-A1E813CC0209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FADAC4E-0025-49B5-9193-005805248D2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F333341-EE7E-4B56-81B1-4C0E8BBAD5EE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E3801D4-9BF7-4700-8C32-D70AE36D4D0E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67C9AAB-BC0F-4F47-A45A-84F12265CEAB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620A042-CFD3-4726-9871-95DF0A19200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AC7DE60-D77E-45B1-BE9F-9C296A01202D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373AA0E-0F03-4C52-A670-2C43C1E35668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D89DF5B-E575-4553-BAFF-6FDAE0A72DED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E24FB39-65D6-4F28-A8A6-B01F30986E14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3FE6349-71D4-4AD6-A2B7-C630037B5D2A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FA7A066-CC02-4961-A242-F2116F5A0EE5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8E8E2CB-A539-45E9-9ECD-33FDF5F5436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873250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4"/>
            <a:ext cx="7524750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A98A738B-3132-AF5D-B3C8-6323565056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7338" y="1384300"/>
            <a:ext cx="3600450" cy="3240088"/>
          </a:xfrm>
        </p:spPr>
        <p:txBody>
          <a:bodyPr/>
          <a:lstStyle/>
          <a:p>
            <a:pPr lvl="0"/>
            <a:r>
              <a:rPr lang="en-US" dirty="0"/>
              <a:t>Click to add text                                                                       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A8893B5-0DDF-3FD8-AEE6-42AEC510AA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11638" y="1384300"/>
            <a:ext cx="3600450" cy="3240088"/>
          </a:xfrm>
        </p:spPr>
        <p:txBody>
          <a:bodyPr/>
          <a:lstStyle/>
          <a:p>
            <a:pPr lvl="0"/>
            <a:r>
              <a:rPr lang="en-US" dirty="0"/>
              <a:t>Click to add text                                                                       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4181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s 2">
    <p:bg>
      <p:bgPr>
        <a:solidFill>
          <a:schemeClr val="accent4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4"/>
            <a:ext cx="7524750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9" name="Graphic 19">
            <a:extLst>
              <a:ext uri="{FF2B5EF4-FFF2-40B4-BE49-F238E27FC236}">
                <a16:creationId xmlns:a16="http://schemas.microsoft.com/office/drawing/2014/main" id="{02AF89FC-84AD-457F-A215-4C444DF5FD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D05FC70-CE33-4A87-8449-E1B9B0F82DAD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C51FA43-2BC5-4E38-8E78-05643F05832B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2AD1503-2D75-4882-BC73-CD43EC468BE0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088984F-6771-4FCE-9457-AEDF37C54B9A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9C64356-1910-427B-A1E3-9D582C7BCD66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71CB873-8E26-4127-B72A-4D1F50A56179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74DB33F-0727-4BEB-BB34-8FF56542E7B4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93BE8DE-AF52-4D3C-8D26-A1E813CC0209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FADAC4E-0025-49B5-9193-005805248D2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F333341-EE7E-4B56-81B1-4C0E8BBAD5EE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E3801D4-9BF7-4700-8C32-D70AE36D4D0E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67C9AAB-BC0F-4F47-A45A-84F12265CEAB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620A042-CFD3-4726-9871-95DF0A19200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AC7DE60-D77E-45B1-BE9F-9C296A01202D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373AA0E-0F03-4C52-A670-2C43C1E35668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D89DF5B-E575-4553-BAFF-6FDAE0A72DED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E24FB39-65D6-4F28-A8A6-B01F30986E14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3FE6349-71D4-4AD6-A2B7-C630037B5D2A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FA7A066-CC02-4961-A242-F2116F5A0EE5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8E8E2CB-A539-45E9-9ECD-33FDF5F5436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97AD86B0-EC67-2D9D-34BD-B677E83DDF7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7338" y="1384300"/>
            <a:ext cx="3600450" cy="3240088"/>
          </a:xfrm>
        </p:spPr>
        <p:txBody>
          <a:bodyPr/>
          <a:lstStyle/>
          <a:p>
            <a:pPr lvl="0"/>
            <a:r>
              <a:rPr lang="en-US" dirty="0"/>
              <a:t>Click to add text                                                                       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D4F5CADC-9CD3-BB95-1E88-6D4D356699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11638" y="1384300"/>
            <a:ext cx="3600450" cy="3240088"/>
          </a:xfrm>
        </p:spPr>
        <p:txBody>
          <a:bodyPr/>
          <a:lstStyle/>
          <a:p>
            <a:pPr lvl="0"/>
            <a:r>
              <a:rPr lang="en-US" dirty="0"/>
              <a:t>Click to add text                                                                       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4509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8AAA3DA6-FFAB-8598-D550-E7E6D414AF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7338" y="1384300"/>
            <a:ext cx="27368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                                            Press ENTER then TAB to view next text style                                          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D141992D-F9B8-8465-EE76-A49338D2E94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03576" y="1384300"/>
            <a:ext cx="27368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                                          Press ENTER then TAB to view next text style                                              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08C94BC-5374-DA61-F85E-B5C80194303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13" y="1384300"/>
            <a:ext cx="27368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                                           Press ENTER then TAB to view next text style                                             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110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05" userDrawn="1">
          <p15:clr>
            <a:srgbClr val="FBAE40"/>
          </p15:clr>
        </p15:guide>
        <p15:guide id="2" pos="2018" userDrawn="1">
          <p15:clr>
            <a:srgbClr val="FBAE40"/>
          </p15:clr>
        </p15:guide>
        <p15:guide id="3" pos="3742" userDrawn="1">
          <p15:clr>
            <a:srgbClr val="FBAE40"/>
          </p15:clr>
        </p15:guide>
        <p15:guide id="4" pos="3855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7A0780A1-5D49-BF8E-2FB7-EF05CA892D6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7338" y="1384300"/>
            <a:ext cx="1998662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                  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50284C4-9CDF-C39D-9F2C-F7EBC8DA53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76500" y="1384300"/>
            <a:ext cx="2003425" cy="3240088"/>
          </a:xfrm>
        </p:spPr>
        <p:txBody>
          <a:bodyPr/>
          <a:lstStyle/>
          <a:p>
            <a:pPr lvl="0"/>
            <a:r>
              <a:rPr lang="en-US" dirty="0"/>
              <a:t>Click to add text                   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76F74C48-04DA-7A70-ABFC-8D5D74391E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68838" y="1384300"/>
            <a:ext cx="2003425" cy="3240088"/>
          </a:xfrm>
        </p:spPr>
        <p:txBody>
          <a:bodyPr/>
          <a:lstStyle/>
          <a:p>
            <a:pPr lvl="0"/>
            <a:r>
              <a:rPr lang="en-US" dirty="0"/>
              <a:t>Click to add text                   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09EDCF-4254-9864-5184-8692993E0E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61176" y="1384300"/>
            <a:ext cx="1995487" cy="3240088"/>
          </a:xfrm>
        </p:spPr>
        <p:txBody>
          <a:bodyPr/>
          <a:lstStyle/>
          <a:p>
            <a:pPr lvl="0"/>
            <a:r>
              <a:rPr lang="en-US" dirty="0"/>
              <a:t>Click to add text                   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1750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 userDrawn="1">
          <p15:clr>
            <a:srgbClr val="FBAE40"/>
          </p15:clr>
        </p15:guide>
        <p15:guide id="4" pos="4320" userDrawn="1">
          <p15:clr>
            <a:srgbClr val="FBAE40"/>
          </p15:clr>
        </p15:guide>
        <p15:guide id="5" pos="1560" userDrawn="1">
          <p15:clr>
            <a:srgbClr val="FBAE40"/>
          </p15:clr>
        </p15:guide>
        <p15:guide id="6" pos="2822" userDrawn="1">
          <p15:clr>
            <a:srgbClr val="FBAE40"/>
          </p15:clr>
        </p15:guide>
        <p15:guide id="7" pos="2941" userDrawn="1">
          <p15:clr>
            <a:srgbClr val="FBAE40"/>
          </p15:clr>
        </p15:guide>
        <p15:guide id="8" pos="4204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63EA9506-A233-2FA2-C4CC-3CFB7E4E33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7338" y="1384300"/>
            <a:ext cx="1566862" cy="3240088"/>
          </a:xfrm>
        </p:spPr>
        <p:txBody>
          <a:bodyPr/>
          <a:lstStyle/>
          <a:p>
            <a:pPr lvl="0"/>
            <a:r>
              <a:rPr lang="en-US" dirty="0"/>
              <a:t>Click to add text                   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7AE9B0B-75B2-3627-3C39-4AADAB64F6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33588" y="1384300"/>
            <a:ext cx="1566862" cy="3240088"/>
          </a:xfrm>
        </p:spPr>
        <p:txBody>
          <a:bodyPr/>
          <a:lstStyle/>
          <a:p>
            <a:pPr lvl="0"/>
            <a:r>
              <a:rPr lang="en-US" dirty="0"/>
              <a:t>Click to add text                   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162651CC-6103-D6B0-3621-E03B22D107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79838" y="1384300"/>
            <a:ext cx="1584325" cy="3240088"/>
          </a:xfrm>
        </p:spPr>
        <p:txBody>
          <a:bodyPr/>
          <a:lstStyle/>
          <a:p>
            <a:pPr lvl="0"/>
            <a:r>
              <a:rPr lang="en-US" dirty="0"/>
              <a:t>Click to add text                   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85A872B-FDFE-A910-808E-37AAC332D2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43551" y="1384300"/>
            <a:ext cx="1566862" cy="3240088"/>
          </a:xfrm>
        </p:spPr>
        <p:txBody>
          <a:bodyPr/>
          <a:lstStyle/>
          <a:p>
            <a:pPr lvl="0"/>
            <a:r>
              <a:rPr lang="en-US" dirty="0"/>
              <a:t>Click to add text                   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F569B7A-D49B-F095-2912-BE29FADAAF1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85039" y="1384300"/>
            <a:ext cx="1571624" cy="3240088"/>
          </a:xfrm>
        </p:spPr>
        <p:txBody>
          <a:bodyPr/>
          <a:lstStyle/>
          <a:p>
            <a:pPr lvl="0"/>
            <a:r>
              <a:rPr lang="en-US" dirty="0"/>
              <a:t>Click to add text                   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5792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68" userDrawn="1">
          <p15:clr>
            <a:srgbClr val="FBAE40"/>
          </p15:clr>
        </p15:guide>
        <p15:guide id="4" pos="4479" userDrawn="1">
          <p15:clr>
            <a:srgbClr val="FBAE40"/>
          </p15:clr>
        </p15:guide>
        <p15:guide id="5" pos="1281" userDrawn="1">
          <p15:clr>
            <a:srgbClr val="FBAE40"/>
          </p15:clr>
        </p15:guide>
        <p15:guide id="6" pos="2268" userDrawn="1">
          <p15:clr>
            <a:srgbClr val="FBAE40"/>
          </p15:clr>
        </p15:guide>
        <p15:guide id="7" pos="2381" userDrawn="1">
          <p15:clr>
            <a:srgbClr val="FBAE40"/>
          </p15:clr>
        </p15:guide>
        <p15:guide id="8" pos="4589" userDrawn="1">
          <p15:clr>
            <a:srgbClr val="FBAE40"/>
          </p15:clr>
        </p15:guide>
        <p15:guide id="9" pos="3379" userDrawn="1">
          <p15:clr>
            <a:srgbClr val="FBAE40"/>
          </p15:clr>
        </p15:guide>
        <p15:guide id="10" pos="3492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D94FAE30-3AFD-2623-76CF-E27D660125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7338" y="1384300"/>
            <a:ext cx="1279525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967F4A1-A236-ADEC-7A71-20F3A1D761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41488" y="1384300"/>
            <a:ext cx="1284287" cy="3240088"/>
          </a:xfrm>
        </p:spPr>
        <p:txBody>
          <a:bodyPr/>
          <a:lstStyle/>
          <a:p>
            <a:pPr lvl="0"/>
            <a:r>
              <a:rPr lang="en-US" dirty="0"/>
              <a:t>Click to add text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E9188F5-18BE-39D6-3055-ED075D7B8A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03575" y="1384300"/>
            <a:ext cx="1281113" cy="3240088"/>
          </a:xfrm>
        </p:spPr>
        <p:txBody>
          <a:bodyPr/>
          <a:lstStyle/>
          <a:p>
            <a:pPr lvl="0"/>
            <a:r>
              <a:rPr lang="en-US" dirty="0"/>
              <a:t>Click to add text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D571FD4-41B0-AEA6-7CD6-8EA941A86E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59314" y="1384300"/>
            <a:ext cx="1281112" cy="3240088"/>
          </a:xfrm>
        </p:spPr>
        <p:txBody>
          <a:bodyPr/>
          <a:lstStyle/>
          <a:p>
            <a:pPr lvl="0"/>
            <a:r>
              <a:rPr lang="en-US" dirty="0"/>
              <a:t>Click to add text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389A2A0-A6E2-E02F-AF8B-CCEE6CE4FF7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19813" y="1384300"/>
            <a:ext cx="1277937" cy="3240088"/>
          </a:xfrm>
        </p:spPr>
        <p:txBody>
          <a:bodyPr/>
          <a:lstStyle/>
          <a:p>
            <a:pPr lvl="0"/>
            <a:r>
              <a:rPr lang="en-US" dirty="0"/>
              <a:t>Click to add text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243B55F-A105-1D9B-0649-21493957575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72375" y="1384300"/>
            <a:ext cx="1284288" cy="3240088"/>
          </a:xfrm>
        </p:spPr>
        <p:txBody>
          <a:bodyPr/>
          <a:lstStyle/>
          <a:p>
            <a:pPr lvl="0"/>
            <a:r>
              <a:rPr lang="en-US" dirty="0"/>
              <a:t>Click to add text Press ENTER then TAB to view next text style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0485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87" userDrawn="1">
          <p15:clr>
            <a:srgbClr val="FBAE40"/>
          </p15:clr>
        </p15:guide>
        <p15:guide id="4" pos="3742" userDrawn="1">
          <p15:clr>
            <a:srgbClr val="FBAE40"/>
          </p15:clr>
        </p15:guide>
        <p15:guide id="5" pos="1097" userDrawn="1">
          <p15:clr>
            <a:srgbClr val="FBAE40"/>
          </p15:clr>
        </p15:guide>
        <p15:guide id="6" pos="1906" userDrawn="1">
          <p15:clr>
            <a:srgbClr val="FBAE40"/>
          </p15:clr>
        </p15:guide>
        <p15:guide id="7" pos="2018" userDrawn="1">
          <p15:clr>
            <a:srgbClr val="FBAE40"/>
          </p15:clr>
        </p15:guide>
        <p15:guide id="8" pos="4660" userDrawn="1">
          <p15:clr>
            <a:srgbClr val="FBAE40"/>
          </p15:clr>
        </p15:guide>
        <p15:guide id="9" pos="2825" userDrawn="1">
          <p15:clr>
            <a:srgbClr val="FBAE40"/>
          </p15:clr>
        </p15:guide>
        <p15:guide id="10" pos="2935" userDrawn="1">
          <p15:clr>
            <a:srgbClr val="FBAE40"/>
          </p15:clr>
        </p15:guide>
        <p15:guide id="11" pos="4770" userDrawn="1">
          <p15:clr>
            <a:srgbClr val="FBAE40"/>
          </p15:clr>
        </p15:guide>
        <p15:guide id="12" pos="3855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and tex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9B8376A-3F2F-4D41-BC8B-1C257493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text</a:t>
            </a:r>
          </a:p>
          <a:p>
            <a:pPr lvl="1"/>
            <a:endParaRPr lang="en-GB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4C88DCC-E2CF-4C92-BB09-0F1056975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8" y="2938409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D58F12-3A40-4AD6-B65A-AAC2F3E79D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7338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A68EE013-AE2A-4248-8BCF-2E64E6BABDD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478281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11CE9E7-F377-4DD8-A11A-DDDEDEC0BC6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69224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C5781105-3433-4B25-8A2C-71205B96E3F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860166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E390B699-9829-4C4D-9271-54B5879B36A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8281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1"/>
            <a:endParaRPr lang="en-GB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63A6803F-D4D2-4ED2-A99D-780C639CA5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78281" y="2938409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14BB3F-0B6E-49DE-98D5-69F9B40A1CC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69224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1"/>
            <a:endParaRPr lang="en-GB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FE678802-AB38-4C6E-AE7F-BDD84189529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69224" y="2938409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92B200A8-A390-4184-A558-D2CFC7EE0D3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60166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1"/>
            <a:endParaRPr lang="en-GB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A3730497-CA66-4CCE-9128-3C544C7579B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860166" y="2938409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0925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1560">
          <p15:clr>
            <a:srgbClr val="FBAE40"/>
          </p15:clr>
        </p15:guide>
        <p15:guide id="5" pos="2822">
          <p15:clr>
            <a:srgbClr val="FBAE40"/>
          </p15:clr>
        </p15:guide>
        <p15:guide id="6" pos="2938">
          <p15:clr>
            <a:srgbClr val="FBAE40"/>
          </p15:clr>
        </p15:guide>
        <p15:guide id="7" pos="4200">
          <p15:clr>
            <a:srgbClr val="FBAE40"/>
          </p15:clr>
        </p15:guide>
        <p15:guide id="8" pos="43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30CC86D-A9F1-4C7F-8A8B-0E2535F8A86C}"/>
              </a:ext>
            </a:extLst>
          </p:cNvPr>
          <p:cNvSpPr/>
          <p:nvPr userDrawn="1"/>
        </p:nvSpPr>
        <p:spPr>
          <a:xfrm>
            <a:off x="5466988" y="0"/>
            <a:ext cx="3677012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6" name="Picture Placeholder 75">
            <a:extLst>
              <a:ext uri="{FF2B5EF4-FFF2-40B4-BE49-F238E27FC236}">
                <a16:creationId xmlns:a16="http://schemas.microsoft.com/office/drawing/2014/main" id="{C0D90AE0-1FCB-4D84-ABAD-75632D77D5F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34626" y="0"/>
            <a:ext cx="3711600" cy="5143500"/>
          </a:xfrm>
          <a:custGeom>
            <a:avLst/>
            <a:gdLst>
              <a:gd name="connsiteX0" fmla="*/ 142240 w 3708000"/>
              <a:gd name="connsiteY0" fmla="*/ 2070213 h 5143500"/>
              <a:gd name="connsiteX1" fmla="*/ 129373 w 3708000"/>
              <a:gd name="connsiteY1" fmla="*/ 2081770 h 5143500"/>
              <a:gd name="connsiteX2" fmla="*/ 129373 w 3708000"/>
              <a:gd name="connsiteY2" fmla="*/ 2081817 h 5143500"/>
              <a:gd name="connsiteX3" fmla="*/ 141900 w 3708000"/>
              <a:gd name="connsiteY3" fmla="*/ 2093986 h 5143500"/>
              <a:gd name="connsiteX4" fmla="*/ 154416 w 3708000"/>
              <a:gd name="connsiteY4" fmla="*/ 2082425 h 5143500"/>
              <a:gd name="connsiteX5" fmla="*/ 142240 w 3708000"/>
              <a:gd name="connsiteY5" fmla="*/ 2070213 h 5143500"/>
              <a:gd name="connsiteX6" fmla="*/ 142531 w 3708000"/>
              <a:gd name="connsiteY6" fmla="*/ 1765449 h 5143500"/>
              <a:gd name="connsiteX7" fmla="*/ 116798 w 3708000"/>
              <a:gd name="connsiteY7" fmla="*/ 1788657 h 5143500"/>
              <a:gd name="connsiteX8" fmla="*/ 116798 w 3708000"/>
              <a:gd name="connsiteY8" fmla="*/ 1788707 h 5143500"/>
              <a:gd name="connsiteX9" fmla="*/ 141899 w 3708000"/>
              <a:gd name="connsiteY9" fmla="*/ 1813090 h 5143500"/>
              <a:gd name="connsiteX10" fmla="*/ 166987 w 3708000"/>
              <a:gd name="connsiteY10" fmla="*/ 1789873 h 5143500"/>
              <a:gd name="connsiteX11" fmla="*/ 142531 w 3708000"/>
              <a:gd name="connsiteY11" fmla="*/ 1765449 h 5143500"/>
              <a:gd name="connsiteX12" fmla="*/ 142240 w 3708000"/>
              <a:gd name="connsiteY12" fmla="*/ 1484172 h 5143500"/>
              <a:gd name="connsiteX13" fmla="*/ 129373 w 3708000"/>
              <a:gd name="connsiteY13" fmla="*/ 1495729 h 5143500"/>
              <a:gd name="connsiteX14" fmla="*/ 129373 w 3708000"/>
              <a:gd name="connsiteY14" fmla="*/ 1495874 h 5143500"/>
              <a:gd name="connsiteX15" fmla="*/ 141899 w 3708000"/>
              <a:gd name="connsiteY15" fmla="*/ 1507945 h 5143500"/>
              <a:gd name="connsiteX16" fmla="*/ 154416 w 3708000"/>
              <a:gd name="connsiteY16" fmla="*/ 1496384 h 5143500"/>
              <a:gd name="connsiteX17" fmla="*/ 142240 w 3708000"/>
              <a:gd name="connsiteY17" fmla="*/ 1484172 h 5143500"/>
              <a:gd name="connsiteX18" fmla="*/ 142240 w 3708000"/>
              <a:gd name="connsiteY18" fmla="*/ 1191246 h 5143500"/>
              <a:gd name="connsiteX19" fmla="*/ 129373 w 3708000"/>
              <a:gd name="connsiteY19" fmla="*/ 1202803 h 5143500"/>
              <a:gd name="connsiteX20" fmla="*/ 129373 w 3708000"/>
              <a:gd name="connsiteY20" fmla="*/ 1202948 h 5143500"/>
              <a:gd name="connsiteX21" fmla="*/ 141899 w 3708000"/>
              <a:gd name="connsiteY21" fmla="*/ 1215019 h 5143500"/>
              <a:gd name="connsiteX22" fmla="*/ 154416 w 3708000"/>
              <a:gd name="connsiteY22" fmla="*/ 1203458 h 5143500"/>
              <a:gd name="connsiteX23" fmla="*/ 142240 w 3708000"/>
              <a:gd name="connsiteY23" fmla="*/ 1191246 h 5143500"/>
              <a:gd name="connsiteX24" fmla="*/ 142191 w 3708000"/>
              <a:gd name="connsiteY24" fmla="*/ 898320 h 5143500"/>
              <a:gd name="connsiteX25" fmla="*/ 129373 w 3708000"/>
              <a:gd name="connsiteY25" fmla="*/ 909924 h 5143500"/>
              <a:gd name="connsiteX26" fmla="*/ 141900 w 3708000"/>
              <a:gd name="connsiteY26" fmla="*/ 922093 h 5143500"/>
              <a:gd name="connsiteX27" fmla="*/ 154421 w 3708000"/>
              <a:gd name="connsiteY27" fmla="*/ 910486 h 5143500"/>
              <a:gd name="connsiteX28" fmla="*/ 142191 w 3708000"/>
              <a:gd name="connsiteY28" fmla="*/ 898320 h 5143500"/>
              <a:gd name="connsiteX29" fmla="*/ 142486 w 3708000"/>
              <a:gd name="connsiteY29" fmla="*/ 593738 h 5143500"/>
              <a:gd name="connsiteX30" fmla="*/ 116798 w 3708000"/>
              <a:gd name="connsiteY30" fmla="*/ 616998 h 5143500"/>
              <a:gd name="connsiteX31" fmla="*/ 141900 w 3708000"/>
              <a:gd name="connsiteY31" fmla="*/ 641384 h 5143500"/>
              <a:gd name="connsiteX32" fmla="*/ 166986 w 3708000"/>
              <a:gd name="connsiteY32" fmla="*/ 618121 h 5143500"/>
              <a:gd name="connsiteX33" fmla="*/ 142486 w 3708000"/>
              <a:gd name="connsiteY33" fmla="*/ 593738 h 5143500"/>
              <a:gd name="connsiteX34" fmla="*/ 142191 w 3708000"/>
              <a:gd name="connsiteY34" fmla="*/ 312467 h 5143500"/>
              <a:gd name="connsiteX35" fmla="*/ 129373 w 3708000"/>
              <a:gd name="connsiteY35" fmla="*/ 324071 h 5143500"/>
              <a:gd name="connsiteX36" fmla="*/ 141900 w 3708000"/>
              <a:gd name="connsiteY36" fmla="*/ 336240 h 5143500"/>
              <a:gd name="connsiteX37" fmla="*/ 154421 w 3708000"/>
              <a:gd name="connsiteY37" fmla="*/ 324633 h 5143500"/>
              <a:gd name="connsiteX38" fmla="*/ 142191 w 3708000"/>
              <a:gd name="connsiteY38" fmla="*/ 312467 h 5143500"/>
              <a:gd name="connsiteX39" fmla="*/ 0 w 3708000"/>
              <a:gd name="connsiteY39" fmla="*/ 0 h 5143500"/>
              <a:gd name="connsiteX40" fmla="*/ 3708000 w 3708000"/>
              <a:gd name="connsiteY40" fmla="*/ 0 h 5143500"/>
              <a:gd name="connsiteX41" fmla="*/ 3708000 w 3708000"/>
              <a:gd name="connsiteY41" fmla="*/ 5143500 h 5143500"/>
              <a:gd name="connsiteX42" fmla="*/ 0 w 3708000"/>
              <a:gd name="connsiteY4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3708000" h="5143500">
                <a:moveTo>
                  <a:pt x="142240" y="2070213"/>
                </a:moveTo>
                <a:cubicBezTo>
                  <a:pt x="135327" y="2070030"/>
                  <a:pt x="129566" y="2075207"/>
                  <a:pt x="129373" y="2081770"/>
                </a:cubicBezTo>
                <a:cubicBezTo>
                  <a:pt x="129373" y="2081784"/>
                  <a:pt x="129373" y="2081802"/>
                  <a:pt x="129373" y="2081817"/>
                </a:cubicBezTo>
                <a:cubicBezTo>
                  <a:pt x="129289" y="2088463"/>
                  <a:pt x="134903" y="2093912"/>
                  <a:pt x="141900" y="2093986"/>
                </a:cubicBezTo>
                <a:cubicBezTo>
                  <a:pt x="148681" y="2093982"/>
                  <a:pt x="154228" y="2088862"/>
                  <a:pt x="154416" y="2082425"/>
                </a:cubicBezTo>
                <a:cubicBezTo>
                  <a:pt x="154608" y="2075863"/>
                  <a:pt x="149155" y="2070395"/>
                  <a:pt x="142240" y="2070213"/>
                </a:cubicBezTo>
                <a:close/>
                <a:moveTo>
                  <a:pt x="142531" y="1765449"/>
                </a:moveTo>
                <a:cubicBezTo>
                  <a:pt x="128673" y="1765111"/>
                  <a:pt x="117153" y="1775503"/>
                  <a:pt x="116798" y="1788657"/>
                </a:cubicBezTo>
                <a:cubicBezTo>
                  <a:pt x="116798" y="1788675"/>
                  <a:pt x="116798" y="1788689"/>
                  <a:pt x="116798" y="1788707"/>
                </a:cubicBezTo>
                <a:cubicBezTo>
                  <a:pt x="116635" y="1802020"/>
                  <a:pt x="127874" y="1812936"/>
                  <a:pt x="141899" y="1813090"/>
                </a:cubicBezTo>
                <a:cubicBezTo>
                  <a:pt x="155511" y="1813086"/>
                  <a:pt x="166635" y="1802788"/>
                  <a:pt x="166987" y="1789873"/>
                </a:cubicBezTo>
                <a:cubicBezTo>
                  <a:pt x="167337" y="1776720"/>
                  <a:pt x="156393" y="1765781"/>
                  <a:pt x="142531" y="1765449"/>
                </a:cubicBezTo>
                <a:close/>
                <a:moveTo>
                  <a:pt x="142240" y="1484172"/>
                </a:moveTo>
                <a:cubicBezTo>
                  <a:pt x="135326" y="1483989"/>
                  <a:pt x="129565" y="1489166"/>
                  <a:pt x="129373" y="1495729"/>
                </a:cubicBezTo>
                <a:cubicBezTo>
                  <a:pt x="129373" y="1495776"/>
                  <a:pt x="129373" y="1495823"/>
                  <a:pt x="129373" y="1495874"/>
                </a:cubicBezTo>
                <a:cubicBezTo>
                  <a:pt x="129319" y="1502488"/>
                  <a:pt x="134926" y="1507895"/>
                  <a:pt x="141899" y="1507945"/>
                </a:cubicBezTo>
                <a:cubicBezTo>
                  <a:pt x="148680" y="1507941"/>
                  <a:pt x="154228" y="1502821"/>
                  <a:pt x="154416" y="1496384"/>
                </a:cubicBezTo>
                <a:cubicBezTo>
                  <a:pt x="154608" y="1489822"/>
                  <a:pt x="149154" y="1484354"/>
                  <a:pt x="142240" y="1484172"/>
                </a:cubicBezTo>
                <a:close/>
                <a:moveTo>
                  <a:pt x="142240" y="1191246"/>
                </a:moveTo>
                <a:cubicBezTo>
                  <a:pt x="135326" y="1191064"/>
                  <a:pt x="129565" y="1196240"/>
                  <a:pt x="129373" y="1202803"/>
                </a:cubicBezTo>
                <a:cubicBezTo>
                  <a:pt x="129373" y="1202850"/>
                  <a:pt x="129373" y="1202897"/>
                  <a:pt x="129373" y="1202948"/>
                </a:cubicBezTo>
                <a:cubicBezTo>
                  <a:pt x="129319" y="1209562"/>
                  <a:pt x="134926" y="1214969"/>
                  <a:pt x="141899" y="1215019"/>
                </a:cubicBezTo>
                <a:cubicBezTo>
                  <a:pt x="148680" y="1215015"/>
                  <a:pt x="154228" y="1209895"/>
                  <a:pt x="154416" y="1203458"/>
                </a:cubicBezTo>
                <a:cubicBezTo>
                  <a:pt x="154608" y="1196896"/>
                  <a:pt x="149154" y="1191428"/>
                  <a:pt x="142240" y="1191246"/>
                </a:cubicBezTo>
                <a:close/>
                <a:moveTo>
                  <a:pt x="142191" y="898320"/>
                </a:moveTo>
                <a:cubicBezTo>
                  <a:pt x="135277" y="898165"/>
                  <a:pt x="129537" y="903361"/>
                  <a:pt x="129373" y="909924"/>
                </a:cubicBezTo>
                <a:cubicBezTo>
                  <a:pt x="129294" y="916570"/>
                  <a:pt x="134903" y="922019"/>
                  <a:pt x="141900" y="922093"/>
                </a:cubicBezTo>
                <a:cubicBezTo>
                  <a:pt x="148701" y="922093"/>
                  <a:pt x="154258" y="916941"/>
                  <a:pt x="154421" y="910486"/>
                </a:cubicBezTo>
                <a:cubicBezTo>
                  <a:pt x="154583" y="903923"/>
                  <a:pt x="149109" y="898474"/>
                  <a:pt x="142191" y="898320"/>
                </a:cubicBezTo>
                <a:close/>
                <a:moveTo>
                  <a:pt x="142486" y="593738"/>
                </a:moveTo>
                <a:cubicBezTo>
                  <a:pt x="128623" y="593429"/>
                  <a:pt x="117123" y="603844"/>
                  <a:pt x="116798" y="616998"/>
                </a:cubicBezTo>
                <a:cubicBezTo>
                  <a:pt x="116660" y="630301"/>
                  <a:pt x="127884" y="641207"/>
                  <a:pt x="141900" y="641384"/>
                </a:cubicBezTo>
                <a:cubicBezTo>
                  <a:pt x="155531" y="641381"/>
                  <a:pt x="166666" y="631054"/>
                  <a:pt x="166986" y="618121"/>
                </a:cubicBezTo>
                <a:cubicBezTo>
                  <a:pt x="167312" y="604968"/>
                  <a:pt x="156344" y="594052"/>
                  <a:pt x="142486" y="593738"/>
                </a:cubicBezTo>
                <a:close/>
                <a:moveTo>
                  <a:pt x="142191" y="312467"/>
                </a:moveTo>
                <a:cubicBezTo>
                  <a:pt x="135277" y="312312"/>
                  <a:pt x="129537" y="317508"/>
                  <a:pt x="129373" y="324071"/>
                </a:cubicBezTo>
                <a:cubicBezTo>
                  <a:pt x="129294" y="330717"/>
                  <a:pt x="134903" y="336166"/>
                  <a:pt x="141900" y="336240"/>
                </a:cubicBezTo>
                <a:cubicBezTo>
                  <a:pt x="148701" y="336240"/>
                  <a:pt x="154258" y="331088"/>
                  <a:pt x="154421" y="324633"/>
                </a:cubicBezTo>
                <a:cubicBezTo>
                  <a:pt x="154583" y="318071"/>
                  <a:pt x="149109" y="312621"/>
                  <a:pt x="142191" y="312467"/>
                </a:cubicBezTo>
                <a:close/>
                <a:moveTo>
                  <a:pt x="0" y="0"/>
                </a:moveTo>
                <a:lnTo>
                  <a:pt x="3708000" y="0"/>
                </a:lnTo>
                <a:lnTo>
                  <a:pt x="3708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  <a:endParaRPr lang="en-GB" dirty="0"/>
          </a:p>
        </p:txBody>
      </p:sp>
      <p:sp>
        <p:nvSpPr>
          <p:cNvPr id="75" name="Dots">
            <a:extLst>
              <a:ext uri="{FF2B5EF4-FFF2-40B4-BE49-F238E27FC236}">
                <a16:creationId xmlns:a16="http://schemas.microsoft.com/office/drawing/2014/main" id="{2E3B1537-5542-4DE2-9E35-373E9D811F5A}"/>
              </a:ext>
            </a:extLst>
          </p:cNvPr>
          <p:cNvSpPr/>
          <p:nvPr userDrawn="1"/>
        </p:nvSpPr>
        <p:spPr>
          <a:xfrm rot="16200000">
            <a:off x="3783671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tx2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E1AED2E5-EACC-4379-8B86-BDCC33C41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71125" y="4482250"/>
            <a:ext cx="1535077" cy="256610"/>
            <a:chOff x="301852" y="4913727"/>
            <a:chExt cx="487916" cy="81562"/>
          </a:xfrm>
          <a:solidFill>
            <a:schemeClr val="bg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1" y="231776"/>
            <a:ext cx="4104000" cy="2583344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A3928A5-23A9-42AB-BE2A-254DDB2EE1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1" y="2933271"/>
            <a:ext cx="4104000" cy="1008000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sub title</a:t>
            </a:r>
            <a:endParaRPr lang="en-GB" dirty="0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2B055659-967E-4FB4-B761-219916CE0D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958761"/>
            <a:ext cx="4104000" cy="36512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EACBBB"/>
                </a:solidFill>
              </a:defRPr>
            </a:lvl1pPr>
            <a:lvl2pPr marL="179388" indent="0">
              <a:buNone/>
              <a:defRPr/>
            </a:lvl2pPr>
            <a:lvl3pPr marL="360362" indent="0">
              <a:buNone/>
              <a:defRPr/>
            </a:lvl3pPr>
            <a:lvl4pPr marL="539750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GB"/>
              <a:t>Click to add date and/or presenters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76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and text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9B8376A-3F2F-4D41-BC8B-1C257493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1"/>
            <a:endParaRPr lang="en-GB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4C88DCC-E2CF-4C92-BB09-0F1056975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8" y="2938409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bg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D58F12-3A40-4AD6-B65A-AAC2F3E79D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7338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A68EE013-AE2A-4248-8BCF-2E64E6BABDD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478281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11CE9E7-F377-4DD8-A11A-DDDEDEC0BC6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69224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C5781105-3433-4B25-8A2C-71205B96E3F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860166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E390B699-9829-4C4D-9271-54B5879B36A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8281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1"/>
            <a:endParaRPr lang="en-GB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63A6803F-D4D2-4ED2-A99D-780C639CA5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78281" y="2938409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bg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14BB3F-0B6E-49DE-98D5-69F9B40A1CC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69224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1"/>
            <a:endParaRPr lang="en-GB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FE678802-AB38-4C6E-AE7F-BDD84189529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69224" y="2938409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bg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92B200A8-A390-4184-A558-D2CFC7EE0D3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60166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</a:p>
          <a:p>
            <a:pPr lvl="1"/>
            <a:endParaRPr lang="en-GB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B535D04-089D-4C0C-B8F6-D5DF48A1F41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860166" y="2938409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bg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90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 userDrawn="1">
          <p15:clr>
            <a:srgbClr val="FBAE40"/>
          </p15:clr>
        </p15:guide>
        <p15:guide id="4" pos="1560" userDrawn="1">
          <p15:clr>
            <a:srgbClr val="FBAE40"/>
          </p15:clr>
        </p15:guide>
        <p15:guide id="5" pos="2822" userDrawn="1">
          <p15:clr>
            <a:srgbClr val="FBAE40"/>
          </p15:clr>
        </p15:guide>
        <p15:guide id="6" pos="2938" userDrawn="1">
          <p15:clr>
            <a:srgbClr val="FBAE40"/>
          </p15:clr>
        </p15:guide>
        <p15:guide id="7" pos="4200" userDrawn="1">
          <p15:clr>
            <a:srgbClr val="FBAE40"/>
          </p15:clr>
        </p15:guide>
        <p15:guide id="8" pos="4320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tex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9B8376A-3F2F-4D41-BC8B-1C257493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7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Add text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4C88DCC-E2CF-4C92-BB09-0F1056975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7" y="2938409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D58F12-3A40-4AD6-B65A-AAC2F3E79D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7338" y="146406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2EE733A6-DEFC-4650-AE8D-E0D5B5C822C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742126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0ECACEAF-4E8A-409F-A96A-C0ECA46B888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196914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706FA668-9394-42F3-85C8-613D5085530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651702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70A1D5F1-0CEC-4928-BDB1-6C2DDC0D3FD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106490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A212763A-D03F-49D4-91C6-ECC7A02C98EA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561277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5D4BA8B6-B69C-4AC9-8D15-DD18D74DB2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45602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  <a:endParaRPr lang="en-GB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5E3F21CB-3D54-489B-9A30-3A854B8F196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203867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  <a:endParaRPr lang="en-GB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1DA71580-ECB2-4D09-8897-C50E57D035C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62132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  <a:endParaRPr lang="en-GB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6B150BEA-75D4-4BD8-A296-50A0131D4DB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120397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  <a:endParaRPr lang="en-GB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2F7F8C6F-C4E5-4F61-83A3-6E5BA86DC75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78663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  <a:endParaRPr lang="en-GB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CF887BEC-8696-44FA-AAEB-11CDA42F6C8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744120" y="2938409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6778262D-D493-48E0-BD79-6361B86EC9B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00903" y="2938409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1BD87ADC-1E7C-4187-A8A9-9112E6E2AC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657686" y="2938409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35001C77-91F2-4B03-8C37-FB1467681A8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14469" y="2938409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138A40E3-EB52-48DE-8ADF-840BA50D192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571254" y="2938409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4702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1560">
          <p15:clr>
            <a:srgbClr val="FBAE40"/>
          </p15:clr>
        </p15:guide>
        <p15:guide id="5" pos="2822">
          <p15:clr>
            <a:srgbClr val="FBAE40"/>
          </p15:clr>
        </p15:guide>
        <p15:guide id="6" pos="2938">
          <p15:clr>
            <a:srgbClr val="FBAE40"/>
          </p15:clr>
        </p15:guide>
        <p15:guide id="7" pos="4200">
          <p15:clr>
            <a:srgbClr val="FBAE40"/>
          </p15:clr>
        </p15:guide>
        <p15:guide id="8" pos="432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x images and text 2">
    <p:bg>
      <p:bgPr>
        <a:solidFill>
          <a:schemeClr val="accent4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4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9B8376A-3F2F-4D41-BC8B-1C257493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Add text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4C88DCC-E2CF-4C92-BB09-0F1056975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7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D58F12-3A40-4AD6-B65A-AAC2F3E79D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7338" y="146406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2EE733A6-DEFC-4650-AE8D-E0D5B5C822C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742126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0ECACEAF-4E8A-409F-A96A-C0ECA46B888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196914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706FA668-9394-42F3-85C8-613D5085530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651702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70A1D5F1-0CEC-4928-BDB1-6C2DDC0D3FD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106490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A212763A-D03F-49D4-91C6-ECC7A02C98EA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561277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5D4BA8B6-B69C-4AC9-8D15-DD18D74DB2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45602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  <a:endParaRPr lang="en-GB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5E3F21CB-3D54-489B-9A30-3A854B8F196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20386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  <a:endParaRPr lang="en-GB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1DA71580-ECB2-4D09-8897-C50E57D035C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62132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  <a:endParaRPr lang="en-GB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6B150BEA-75D4-4BD8-A296-50A0131D4DB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12039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  <a:endParaRPr lang="en-GB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2F7F8C6F-C4E5-4F61-83A3-6E5BA86DC75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78663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  <a:endParaRPr lang="en-GB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CF887BEC-8696-44FA-AAEB-11CDA42F6C8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744120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6778262D-D493-48E0-BD79-6361B86EC9B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00903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1BD87ADC-1E7C-4187-A8A9-9112E6E2AC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657686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35001C77-91F2-4B03-8C37-FB1467681A8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14469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138A40E3-EB52-48DE-8ADF-840BA50D192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571254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grpSp>
        <p:nvGrpSpPr>
          <p:cNvPr id="24" name="Graphic 19">
            <a:extLst>
              <a:ext uri="{FF2B5EF4-FFF2-40B4-BE49-F238E27FC236}">
                <a16:creationId xmlns:a16="http://schemas.microsoft.com/office/drawing/2014/main" id="{5CC8B7A0-2360-4832-B9E7-49352F47A8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A8F1401-E0F2-461D-85B4-02FDA74BB5D9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82F35A7-8A2B-4FF2-A1E8-99D75F379886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D5C9C0E-C64F-46A9-9415-8782E041020C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D84713D-6A8A-4EAC-BAF4-83F70D66F4E1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455E89E9-6C1C-4EB7-9FED-1C1FD794E0B0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411A293C-5052-4D21-8F50-DA0D72838197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4F4B9DB-A9E1-435B-878B-490E939360C1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B76F0E2-4080-4D43-8644-401166DCDC5E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69BCF3C8-D2F8-438A-A873-DF0402FC896A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F8C42139-8062-4FD9-9B40-4BCFDDD36DA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BA944A91-33C1-4ADE-8FB5-15D1FE8FA941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06DE010-8ADA-4F76-B38B-9E349C057147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6A56F72D-51AA-44C6-BC2E-5F4EE0D24A04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D9C1FA35-C8B3-4870-823A-0B90FAAB5962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757354A1-63A3-4F27-920D-EFF00C17E53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7C2FD7F-FBA5-43CC-A963-981788BB7623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6588CA61-DEFD-4976-9996-87212E2661A2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DD4D684D-C933-48E6-9C41-60C5627A49B7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2F3C24D9-5BCF-4584-BEB2-A5AEDCE20EF7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E3C4D663-7165-48F4-9686-91465E1A5CE2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74160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1560">
          <p15:clr>
            <a:srgbClr val="FBAE40"/>
          </p15:clr>
        </p15:guide>
        <p15:guide id="5" pos="2822">
          <p15:clr>
            <a:srgbClr val="FBAE40"/>
          </p15:clr>
        </p15:guide>
        <p15:guide id="6" pos="2938">
          <p15:clr>
            <a:srgbClr val="FBAE40"/>
          </p15:clr>
        </p15:guide>
        <p15:guide id="7" pos="4200">
          <p15:clr>
            <a:srgbClr val="FBAE40"/>
          </p15:clr>
        </p15:guide>
        <p15:guide id="8" pos="432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x images and text 3">
    <p:bg>
      <p:bgPr>
        <a:solidFill>
          <a:schemeClr val="accent4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8313A7A-AD91-4ED9-8CF5-6890BC33877C}"/>
              </a:ext>
            </a:extLst>
          </p:cNvPr>
          <p:cNvSpPr/>
          <p:nvPr userDrawn="1"/>
        </p:nvSpPr>
        <p:spPr>
          <a:xfrm>
            <a:off x="0" y="0"/>
            <a:ext cx="9144000" cy="1936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4"/>
            <a:ext cx="8569325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9B8376A-3F2F-4D41-BC8B-1C257493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Add text</a:t>
            </a:r>
          </a:p>
          <a:p>
            <a:pPr lvl="1"/>
            <a:endParaRPr lang="en-GB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4C88DCC-E2CF-4C92-BB09-0F1056975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7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D58F12-3A40-4AD6-B65A-AAC2F3E79D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7338" y="146406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2EE733A6-DEFC-4650-AE8D-E0D5B5C822C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742126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0ECACEAF-4E8A-409F-A96A-C0ECA46B888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196914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706FA668-9394-42F3-85C8-613D5085530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651702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70A1D5F1-0CEC-4928-BDB1-6C2DDC0D3FD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106490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A212763A-D03F-49D4-91C6-ECC7A02C98EA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561277" y="1463747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5D4BA8B6-B69C-4AC9-8D15-DD18D74DB2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45602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  <a:endParaRPr lang="en-GB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5E3F21CB-3D54-489B-9A30-3A854B8F196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20386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  <a:endParaRPr lang="en-GB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1DA71580-ECB2-4D09-8897-C50E57D035C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62132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  <a:endParaRPr lang="en-GB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6B150BEA-75D4-4BD8-A296-50A0131D4DB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12039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  <a:endParaRPr lang="en-GB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2F7F8C6F-C4E5-4F61-83A3-6E5BA86DC75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78663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179388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Add text</a:t>
            </a:r>
            <a:endParaRPr lang="en-GB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CF887BEC-8696-44FA-AAEB-11CDA42F6C8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744120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6778262D-D493-48E0-BD79-6361B86EC9B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00903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1BD87ADC-1E7C-4187-A8A9-9112E6E2AC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657686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35001C77-91F2-4B03-8C37-FB1467681A8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14469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138A40E3-EB52-48DE-8ADF-840BA50D192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571254" y="2938409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8" indent="0">
              <a:buNone/>
              <a:defRPr sz="1000"/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marL="0" marR="0" lvl="0" indent="0" algn="l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text</a:t>
            </a:r>
            <a:endParaRPr lang="en-GB" dirty="0"/>
          </a:p>
        </p:txBody>
      </p:sp>
      <p:grpSp>
        <p:nvGrpSpPr>
          <p:cNvPr id="25" name="Graphic 19">
            <a:extLst>
              <a:ext uri="{FF2B5EF4-FFF2-40B4-BE49-F238E27FC236}">
                <a16:creationId xmlns:a16="http://schemas.microsoft.com/office/drawing/2014/main" id="{295ED415-EFF4-49B1-9B83-14D805C868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E50E246-4B63-4151-BE8D-37165C5D6C5B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75C1A517-F5DD-4D53-9724-AF544C275B55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FAA572DC-A561-496D-BC6D-E1FD6E3B68C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FDBEAD8-7C52-4DCF-91A6-8BD34167D2DF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36BA790-BF39-451D-ABF3-5149EA9C15C9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8CA8B14-C4C6-49FC-A169-F6F49E589AEE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17ADB2A-C220-42C9-B79D-755B26C88FD8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6396D9DE-7353-49B0-939B-5F018064D87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AB56403-DA0E-4E01-B8B2-9CE1607ECD2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BD0E7DF6-8A2F-4690-AC60-54277374A7F1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FCD5CC34-1A70-4D34-8AF9-4ABDAC33F70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DD720656-C571-496B-97C6-B85DD315C9BE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64AED83-2A56-42DB-A602-67E4950368F6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61CBFC2F-3522-49EF-B4F8-85801E40F661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31E6C9D9-3601-404B-9A91-ADD5A620910B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CC5C52F-44CF-42AD-93CB-FC3FAA14197C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B1584459-6F57-4FD0-9280-FB9BFB754D77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07E20A86-3A17-4A4E-B262-F113A5382072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411B58AE-7C60-4E75-830A-7712D027C91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BBE11415-60BF-44A6-8BEE-A0F971454D11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71148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1560">
          <p15:clr>
            <a:srgbClr val="FBAE40"/>
          </p15:clr>
        </p15:guide>
        <p15:guide id="5" pos="2822">
          <p15:clr>
            <a:srgbClr val="FBAE40"/>
          </p15:clr>
        </p15:guide>
        <p15:guide id="6" pos="2938">
          <p15:clr>
            <a:srgbClr val="FBAE40"/>
          </p15:clr>
        </p15:guide>
        <p15:guide id="7" pos="4200">
          <p15:clr>
            <a:srgbClr val="FBAE40"/>
          </p15:clr>
        </p15:guide>
        <p15:guide id="8" pos="432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and pictur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EFD8556-0AB6-4925-BC1F-6A8D224BE8A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572000" y="0"/>
            <a:ext cx="4572000" cy="5143500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GB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5"/>
            <a:ext cx="4032248" cy="1008064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7" y="4875766"/>
            <a:ext cx="1327855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6" y="4875766"/>
            <a:ext cx="316567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92A6F489-9E7E-06F8-A257-C4E8A191B67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8" y="1384300"/>
            <a:ext cx="40322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                                                                                     Press ENTER then TAB to view next text style           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1157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880" userDrawn="1">
          <p15:clr>
            <a:srgbClr val="FBAE40"/>
          </p15:clr>
        </p15:guide>
        <p15:guide id="4" pos="2721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and pictur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EFD8556-0AB6-4925-BC1F-6A8D224BE8A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203575" y="0"/>
            <a:ext cx="5940425" cy="5143500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GB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5"/>
            <a:ext cx="2663824" cy="1008064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7" y="4875766"/>
            <a:ext cx="1327855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6" y="4875766"/>
            <a:ext cx="316567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3900FFE-3876-DD64-F500-799DA81E7D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8" y="1384300"/>
            <a:ext cx="2663825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                                            Press ENTER then TAB to view next text style                                           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8142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69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and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C1A66733-51BD-4A1B-A1E1-2EA7AEFEDF6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13418" y="0"/>
            <a:ext cx="3030582" cy="51435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4"/>
            <a:ext cx="5580061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464F4DFE-FB0A-B5A1-E66B-F67EF5EF49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8" y="1384300"/>
            <a:ext cx="2663825" cy="3240088"/>
          </a:xfrm>
        </p:spPr>
        <p:txBody>
          <a:bodyPr/>
          <a:lstStyle/>
          <a:p>
            <a:pPr lvl="0"/>
            <a:r>
              <a:rPr lang="en-US" dirty="0"/>
              <a:t>Click to add text                                             Press ENTER then TAB to view next text style                                           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E8FF44A2-CE83-8C47-172B-8563FB396F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97181" y="1384300"/>
            <a:ext cx="2663825" cy="3240088"/>
          </a:xfrm>
        </p:spPr>
        <p:txBody>
          <a:bodyPr/>
          <a:lstStyle/>
          <a:p>
            <a:pPr lvl="0"/>
            <a:r>
              <a:rPr lang="en-US" dirty="0"/>
              <a:t>Click to add text                                             Press ENTER then TAB to view next text style                                           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7" y="4875766"/>
            <a:ext cx="1327855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6" y="4875766"/>
            <a:ext cx="316567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4082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696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rt graph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E5DA41E-7697-64A3-65DF-F82F4718B606}"/>
              </a:ext>
            </a:extLst>
          </p:cNvPr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4"/>
            <a:ext cx="4032248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7" y="4875766"/>
            <a:ext cx="1327855" cy="129382"/>
          </a:xfrm>
        </p:spPr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6" y="4875766"/>
            <a:ext cx="316567" cy="129382"/>
          </a:xfrm>
        </p:spPr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6EC4B04A-FD2E-440A-B266-DB1890A20B15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BEBEBE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4E67AE1-3A55-4FE3-AFA3-D44BDDE51A76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DDF7F79-ACCF-4E1A-8668-26E488678121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B84DAD-A6E2-4856-A62D-335C50EF1184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7650A64-39E5-4A8B-8C8A-C967473220D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0D8D9B8-112F-4E87-8C53-3E8A9737CAC8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A42C00B-48E5-45D9-8C25-3D9FDFC144D1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6846ED9-346A-4E74-B2C7-E35F271FA7E2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A4A0209-A5B5-4352-AA4A-3EC008E71236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2F71D0-BFBB-44B6-9F79-499711036F57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5386E7E-229C-4AC3-B5BE-E9CF22FEE78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B68B6AE-6454-46C6-821D-20923944E95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10546DE-A37B-4F37-8A23-7BEA4B35C08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5D784D4-ED0C-4B9F-8199-612AB0334EE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06A1E2-3540-412C-96A7-24C8339F5787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5836F61A-C498-4BF3-B126-BBAD79E248A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BA1CDF-7FA8-43EC-B8CB-01A67A5DBA46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FE79733-74E2-4B88-A2C0-8A84B618AE3F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6604E9F-B455-447C-840D-B2E6098341A3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CE3B313-27DB-4FE0-A76F-6254993DF3CC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E40B51F9-0E4E-4B25-9A8D-AB82B7CD8FDA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4" name="Graphic 3">
            <a:extLst>
              <a:ext uri="{FF2B5EF4-FFF2-40B4-BE49-F238E27FC236}">
                <a16:creationId xmlns:a16="http://schemas.microsoft.com/office/drawing/2014/main" id="{D3DC322E-3850-001F-D386-2DABC30A76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25498" y="939247"/>
            <a:ext cx="3265004" cy="3265004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688E7A2-312F-0A45-FB99-BD1D0E6D1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8" y="1384300"/>
            <a:ext cx="40322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                                                                                         Press ENTER then TAB to view next text style                                           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3198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2721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pictures/textboxe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F2EED53-4FAF-470B-BABA-95415FCA0B32}"/>
              </a:ext>
            </a:extLst>
          </p:cNvPr>
          <p:cNvSpPr/>
          <p:nvPr userDrawn="1"/>
        </p:nvSpPr>
        <p:spPr>
          <a:xfrm>
            <a:off x="0" y="0"/>
            <a:ext cx="3203575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4"/>
            <a:ext cx="2663824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7" y="4875766"/>
            <a:ext cx="1327855" cy="129382"/>
          </a:xfrm>
        </p:spPr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6" y="4875766"/>
            <a:ext cx="316567" cy="129382"/>
          </a:xfrm>
        </p:spPr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6EC4B04A-FD2E-440A-B266-DB1890A20B15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BEBEBE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4E67AE1-3A55-4FE3-AFA3-D44BDDE51A76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DDF7F79-ACCF-4E1A-8668-26E488678121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B84DAD-A6E2-4856-A62D-335C50EF1184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7650A64-39E5-4A8B-8C8A-C967473220D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0D8D9B8-112F-4E87-8C53-3E8A9737CAC8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A42C00B-48E5-45D9-8C25-3D9FDFC144D1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6846ED9-346A-4E74-B2C7-E35F271FA7E2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A4A0209-A5B5-4352-AA4A-3EC008E71236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2F71D0-BFBB-44B6-9F79-499711036F57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5386E7E-229C-4AC3-B5BE-E9CF22FEE78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6B68B6AE-6454-46C6-821D-20923944E95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10546DE-A37B-4F37-8A23-7BEA4B35C08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5D784D4-ED0C-4B9F-8199-612AB0334EE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06A1E2-3540-412C-96A7-24C8339F5787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5836F61A-C498-4BF3-B126-BBAD79E248A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BA1CDF-7FA8-43EC-B8CB-01A67A5DBA46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FE79733-74E2-4B88-A2C0-8A84B618AE3F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6604E9F-B455-447C-840D-B2E6098341A3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CE3B313-27DB-4FE0-A76F-6254993DF3CC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E40B51F9-0E4E-4B25-9A8D-AB82B7CD8FDA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ED0B705-AD58-4371-B16B-CE872F23B60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238046" y="1166759"/>
            <a:ext cx="877538" cy="781310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  <a:endParaRPr lang="en-GB" dirty="0"/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91CD0FB5-E4FD-4E34-9502-77B6475DA32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38046" y="2120916"/>
            <a:ext cx="877538" cy="781310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  <a:endParaRPr lang="en-GB" dirty="0"/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F7DDAB31-986C-40A8-9C1D-E66196707E3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238046" y="3075073"/>
            <a:ext cx="877538" cy="781310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  <a:endParaRPr lang="en-GB" dirty="0"/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ED74DBC9-5F8C-482F-B8EC-528AE7B206B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04211" y="1166759"/>
            <a:ext cx="3652452" cy="781310"/>
          </a:xfrm>
        </p:spPr>
        <p:txBody>
          <a:bodyPr anchor="ctr">
            <a:normAutofit/>
          </a:bodyPr>
          <a:lstStyle>
            <a:lvl1pPr marL="0" indent="0">
              <a:buNone/>
              <a:defRPr sz="1100">
                <a:solidFill>
                  <a:schemeClr val="bg1"/>
                </a:solidFill>
              </a:defRPr>
            </a:lvl1pPr>
            <a:lvl2pPr marL="179388" indent="0">
              <a:buNone/>
              <a:defRPr sz="1100">
                <a:solidFill>
                  <a:schemeClr val="bg1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4526E8DE-9F24-429B-97B3-00129BD207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04211" y="2120916"/>
            <a:ext cx="3652452" cy="781310"/>
          </a:xfrm>
        </p:spPr>
        <p:txBody>
          <a:bodyPr anchor="ctr">
            <a:normAutofit/>
          </a:bodyPr>
          <a:lstStyle>
            <a:lvl1pPr marL="0" indent="0">
              <a:buNone/>
              <a:defRPr sz="1100">
                <a:solidFill>
                  <a:schemeClr val="bg1"/>
                </a:solidFill>
              </a:defRPr>
            </a:lvl1pPr>
            <a:lvl2pPr marL="179388" indent="0">
              <a:buNone/>
              <a:defRPr sz="1100">
                <a:solidFill>
                  <a:schemeClr val="bg1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6980C8EB-C6DC-4B20-952E-C374410D186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04211" y="3075073"/>
            <a:ext cx="3652452" cy="781310"/>
          </a:xfrm>
        </p:spPr>
        <p:txBody>
          <a:bodyPr anchor="ctr">
            <a:normAutofit/>
          </a:bodyPr>
          <a:lstStyle>
            <a:lvl1pPr marL="0" indent="0">
              <a:buNone/>
              <a:defRPr sz="1100">
                <a:solidFill>
                  <a:schemeClr val="bg1"/>
                </a:solidFill>
              </a:defRPr>
            </a:lvl1pPr>
            <a:lvl2pPr marL="179388" indent="0">
              <a:buNone/>
              <a:defRPr sz="1100">
                <a:solidFill>
                  <a:schemeClr val="bg1"/>
                </a:solidFill>
              </a:defRPr>
            </a:lvl2pPr>
            <a:lvl3pPr marL="360362" indent="0">
              <a:buNone/>
              <a:defRPr sz="1000"/>
            </a:lvl3pPr>
            <a:lvl4pPr marL="539750" indent="0">
              <a:buNone/>
              <a:defRPr sz="1000"/>
            </a:lvl4pPr>
            <a:lvl5pPr marL="719137" indent="0">
              <a:buNone/>
              <a:defRPr sz="1000"/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DE8A679-0759-713E-0CE2-3E0787163AE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87338" y="1384300"/>
            <a:ext cx="2663825" cy="3240088"/>
          </a:xfrm>
        </p:spPr>
        <p:txBody>
          <a:bodyPr/>
          <a:lstStyle/>
          <a:p>
            <a:pPr lvl="0"/>
            <a:r>
              <a:rPr lang="en-US" dirty="0"/>
              <a:t>Click to add text                                             Press ENTER then TAB to view next text style                                           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9389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69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bg>
      <p:bgPr>
        <a:solidFill>
          <a:schemeClr val="accent4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90CF30B-0460-4090-8253-4C0C66AF2BC8}"/>
              </a:ext>
            </a:extLst>
          </p:cNvPr>
          <p:cNvSpPr/>
          <p:nvPr userDrawn="1"/>
        </p:nvSpPr>
        <p:spPr>
          <a:xfrm>
            <a:off x="0" y="0"/>
            <a:ext cx="3203575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4"/>
            <a:ext cx="2663824" cy="1008064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7" y="4875766"/>
            <a:ext cx="1327855" cy="129382"/>
          </a:xfrm>
        </p:spPr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Intern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6" y="4875766"/>
            <a:ext cx="316567" cy="129382"/>
          </a:xfrm>
        </p:spPr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2135EBB7-89A2-462D-8F90-9B79ED46DC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BEBEBE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FCE5AD2-C0B6-4416-8377-C3F33413204D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6495CA5-5589-4B2B-98FB-D20F392F574D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2252530-7889-4BA8-831A-58B2276F173D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AFEE500-4CD8-40CF-AB55-7E7F80EC6513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A17C36B-8CE7-4ECB-A0B5-E528AD02774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E66A775-32E8-41CB-90F0-5C4576F39F11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38384A2-15B4-4BDE-8BE0-77541982E332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A87B1E7-E372-44CB-973A-519D64CAD6F7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C3A118D-41E8-4B95-A78E-85F79ECB7707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961566C-4B79-4974-A51E-FC5CCE1B625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ED51D0D-C996-4EE9-B171-AD29F2DE7B9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3FC1AA2-5191-46F5-AB4E-A9D20CD38578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96860F0-A49A-4285-B37A-503ECD985D00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BE11755-AF30-4D54-BF20-F853D417C577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189726A-4322-4ABC-A42A-685C0655ABD9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106B221-15F6-479D-BFA6-3915FE60FFD6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21E8CBF-44DC-42F6-8736-FF558A5B9D4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E4AC2BA-2471-4EDF-A746-20381B89DBE7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BFA87CC-878C-4AF8-8560-B98D25B8FCB1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0171221-5F88-475A-BA07-A22812E05880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99B0955-4799-4906-A566-C24D9C3A04F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455988" y="231775"/>
            <a:ext cx="5400675" cy="4392613"/>
          </a:xfrm>
        </p:spPr>
        <p:txBody>
          <a:bodyPr/>
          <a:lstStyle>
            <a:lvl1pPr marL="0" indent="0">
              <a:buNone/>
              <a:defRPr/>
            </a:lvl1pPr>
            <a:lvl2pPr marL="179388" indent="0">
              <a:buNone/>
              <a:defRPr/>
            </a:lvl2pPr>
          </a:lstStyle>
          <a:p>
            <a:pPr lvl="0"/>
            <a:r>
              <a:rPr lang="en-GB"/>
              <a:t>Click to add content for example chart or table</a:t>
            </a:r>
            <a:endParaRPr lang="en-GB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B6CDCEF1-939E-8BA0-6055-2F9766971A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384300"/>
            <a:ext cx="2663825" cy="3240088"/>
          </a:xfrm>
        </p:spPr>
        <p:txBody>
          <a:bodyPr/>
          <a:lstStyle/>
          <a:p>
            <a:pPr lvl="0"/>
            <a:r>
              <a:rPr lang="en-US" dirty="0"/>
              <a:t>Click to add text                                             Press ENTER then TAB to view next text style                                           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4607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696">
          <p15:clr>
            <a:srgbClr val="FBAE40"/>
          </p15:clr>
        </p15:guide>
        <p15:guide id="5" pos="217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1851819"/>
            <a:ext cx="3273091" cy="1439863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GB" dirty="0"/>
              <a:t>Click to add title for example Agenda</a:t>
            </a:r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A9A9A9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5" name="Dots">
            <a:extLst>
              <a:ext uri="{FF2B5EF4-FFF2-40B4-BE49-F238E27FC236}">
                <a16:creationId xmlns:a16="http://schemas.microsoft.com/office/drawing/2014/main" id="{7EB53862-94DA-442E-9BA3-F56AE08555A8}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93DDC7-6347-4E7C-80D6-CA23706A06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87788" y="231774"/>
            <a:ext cx="3276600" cy="4680000"/>
          </a:xfrm>
        </p:spPr>
        <p:txBody>
          <a:bodyPr anchor="ctr"/>
          <a:lstStyle>
            <a:lvl1pPr marL="239713" indent="-239713">
              <a:buClr>
                <a:schemeClr val="tx2"/>
              </a:buClr>
              <a:buFont typeface="+mj-lt"/>
              <a:buAutoNum type="arabicPeriod"/>
              <a:defRPr>
                <a:solidFill>
                  <a:schemeClr val="accent1"/>
                </a:solidFill>
              </a:defRPr>
            </a:lvl1pPr>
            <a:lvl2pPr marL="407988" indent="-173038">
              <a:buClr>
                <a:schemeClr val="tx2"/>
              </a:buClr>
              <a:buFont typeface="+mj-lt"/>
              <a:buAutoNum type="arabicPeriod"/>
              <a:defRPr>
                <a:solidFill>
                  <a:schemeClr val="accent1"/>
                </a:solidFill>
              </a:defRPr>
            </a:lvl2pPr>
            <a:lvl3pPr marL="587375" indent="-174625">
              <a:buClr>
                <a:schemeClr val="tx2"/>
              </a:buClr>
              <a:buFont typeface="+mj-lt"/>
              <a:buAutoNum type="arabicPeriod"/>
              <a:defRPr>
                <a:solidFill>
                  <a:schemeClr val="accent1"/>
                </a:solidFill>
              </a:defRPr>
            </a:lvl3pPr>
            <a:lvl4pPr marL="768350" indent="-188913">
              <a:buClr>
                <a:schemeClr val="tx2"/>
              </a:buClr>
              <a:buFont typeface="+mj-lt"/>
              <a:buAutoNum type="arabicPeriod"/>
              <a:defRPr>
                <a:solidFill>
                  <a:schemeClr val="accent1"/>
                </a:solidFill>
              </a:defRPr>
            </a:lvl4pPr>
            <a:lvl5pPr marL="946150" indent="-177800">
              <a:buClr>
                <a:schemeClr val="tx2"/>
              </a:buClr>
              <a:buFont typeface="+mj-lt"/>
              <a:buAutoNum type="arabicPeriod"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DC43ACE-919E-4F14-B57A-476B078BDAD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8C85202-0B59-48F2-8674-991A71F862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C77536-C884-4A81-AE68-002872FF97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32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3" pos="4513" userDrawn="1">
          <p15:clr>
            <a:srgbClr val="FBAE40"/>
          </p15:clr>
        </p15:guide>
        <p15:guide id="4" pos="2245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four char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40" y="231774"/>
            <a:ext cx="8569322" cy="1008063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166007" y="4875766"/>
            <a:ext cx="1327855" cy="129382"/>
          </a:xfrm>
        </p:spPr>
        <p:txBody>
          <a:bodyPr/>
          <a:lstStyle>
            <a:lvl1pPr>
              <a:defRPr>
                <a:solidFill>
                  <a:srgbClr val="A9A9A9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40096" y="4875766"/>
            <a:ext cx="316567" cy="129382"/>
          </a:xfrm>
        </p:spPr>
        <p:txBody>
          <a:bodyPr/>
          <a:lstStyle>
            <a:lvl1pPr>
              <a:defRPr>
                <a:solidFill>
                  <a:srgbClr val="A9A9A9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B9FC45D-54D5-4036-93FE-B8CC03146E43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3203575" y="1387561"/>
            <a:ext cx="2700338" cy="156027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17" name="Chart Placeholder 5">
            <a:extLst>
              <a:ext uri="{FF2B5EF4-FFF2-40B4-BE49-F238E27FC236}">
                <a16:creationId xmlns:a16="http://schemas.microsoft.com/office/drawing/2014/main" id="{4712E5B9-D971-42A0-B7C2-EADDA62014AD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156324" y="1387561"/>
            <a:ext cx="2700338" cy="156027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19" name="Chart Placeholder 5">
            <a:extLst>
              <a:ext uri="{FF2B5EF4-FFF2-40B4-BE49-F238E27FC236}">
                <a16:creationId xmlns:a16="http://schemas.microsoft.com/office/drawing/2014/main" id="{0512725E-F973-4E54-B29A-0CF2150058E6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3203575" y="3068232"/>
            <a:ext cx="2700338" cy="156027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20" name="Chart Placeholder 5">
            <a:extLst>
              <a:ext uri="{FF2B5EF4-FFF2-40B4-BE49-F238E27FC236}">
                <a16:creationId xmlns:a16="http://schemas.microsoft.com/office/drawing/2014/main" id="{BE898CDF-F524-424F-97F4-3286D721F31E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156324" y="3068232"/>
            <a:ext cx="2700338" cy="156027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GB"/>
              <a:t>Click icon to add chart</a:t>
            </a:r>
            <a:endParaRPr lang="en-GB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F082958F-84AD-AD32-01DA-E027398C9C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8" y="1384300"/>
            <a:ext cx="2663825" cy="3240088"/>
          </a:xfrm>
        </p:spPr>
        <p:txBody>
          <a:bodyPr/>
          <a:lstStyle/>
          <a:p>
            <a:pPr lvl="0"/>
            <a:r>
              <a:rPr lang="en-US" dirty="0"/>
              <a:t>Click to add text                                             Press ENTER then TAB to view next text style                                                                    Press SHIFT+TAB to view previous text sty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0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59">
          <p15:clr>
            <a:srgbClr val="FBAE40"/>
          </p15:clr>
        </p15:guide>
        <p15:guide id="2" pos="2018">
          <p15:clr>
            <a:srgbClr val="FBAE40"/>
          </p15:clr>
        </p15:guide>
        <p15:guide id="3" pos="3719" userDrawn="1">
          <p15:clr>
            <a:srgbClr val="FBAE40"/>
          </p15:clr>
        </p15:guide>
        <p15:guide id="4" pos="3878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picture and text boxes">
    <p:bg>
      <p:bgPr>
        <a:solidFill>
          <a:schemeClr val="accent4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DB9D176-43F4-4CF4-9D48-99DC583F1DC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9144000" cy="2664823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779776"/>
            <a:ext cx="2628899" cy="959674"/>
          </a:xfr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Shor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F4B38B19-CADF-4FC1-9242-DEBCD1E6C247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87337" y="3817825"/>
            <a:ext cx="2628899" cy="80656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subtitle</a:t>
            </a:r>
            <a:endParaRPr lang="en-GB" dirty="0"/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E5DF87C-1B84-491A-8BE0-03F3EBFD02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25775" y="2481943"/>
            <a:ext cx="1363345" cy="1755647"/>
          </a:xfrm>
          <a:solidFill>
            <a:schemeClr val="accent4"/>
          </a:solidFill>
        </p:spPr>
        <p:txBody>
          <a:bodyPr lIns="180000" tIns="144000" rIns="180000" bIns="144000">
            <a:normAutofit/>
          </a:bodyPr>
          <a:lstStyle>
            <a:lvl1pPr marL="0" indent="0">
              <a:buNone/>
              <a:defRPr sz="1000"/>
            </a:lvl1pPr>
            <a:lvl2pPr marL="87313" indent="0">
              <a:buNone/>
              <a:defRPr sz="1000"/>
            </a:lvl2pPr>
            <a:lvl3pPr marL="179387" indent="0">
              <a:buNone/>
              <a:defRPr sz="1000"/>
            </a:lvl3pPr>
            <a:lvl4pPr marL="266700" indent="0">
              <a:buNone/>
              <a:defRPr sz="1000"/>
            </a:lvl4pPr>
            <a:lvl5pPr marL="360362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5647C692-E63D-49B1-87FE-EBCEE07743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2486" y="2481943"/>
            <a:ext cx="1363345" cy="1755647"/>
          </a:xfrm>
          <a:solidFill>
            <a:schemeClr val="accent4"/>
          </a:solidFill>
        </p:spPr>
        <p:txBody>
          <a:bodyPr lIns="180000" tIns="144000" rIns="180000" bIns="144000">
            <a:normAutofit/>
          </a:bodyPr>
          <a:lstStyle>
            <a:lvl1pPr marL="0" indent="0">
              <a:buNone/>
              <a:defRPr sz="1000"/>
            </a:lvl1pPr>
            <a:lvl2pPr marL="87313" indent="0">
              <a:buNone/>
              <a:defRPr sz="1000"/>
            </a:lvl2pPr>
            <a:lvl3pPr marL="179387" indent="0">
              <a:buNone/>
              <a:defRPr sz="1000"/>
            </a:lvl3pPr>
            <a:lvl4pPr marL="266700" indent="0">
              <a:buNone/>
              <a:defRPr sz="1000"/>
            </a:lvl4pPr>
            <a:lvl5pPr marL="360362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93A47FA5-323D-4520-BD12-CAE3891837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99197" y="2481943"/>
            <a:ext cx="1363345" cy="1755647"/>
          </a:xfrm>
          <a:solidFill>
            <a:schemeClr val="accent4"/>
          </a:solidFill>
        </p:spPr>
        <p:txBody>
          <a:bodyPr lIns="180000" tIns="144000" rIns="180000" bIns="144000">
            <a:normAutofit/>
          </a:bodyPr>
          <a:lstStyle>
            <a:lvl1pPr marL="0" indent="0">
              <a:buNone/>
              <a:defRPr sz="1000"/>
            </a:lvl1pPr>
            <a:lvl2pPr marL="87313" indent="0">
              <a:buNone/>
              <a:defRPr sz="1000"/>
            </a:lvl2pPr>
            <a:lvl3pPr marL="179387" indent="0">
              <a:buNone/>
              <a:defRPr sz="1000"/>
            </a:lvl3pPr>
            <a:lvl4pPr marL="266700" indent="0">
              <a:buNone/>
              <a:defRPr sz="1000"/>
            </a:lvl4pPr>
            <a:lvl5pPr marL="360362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5F8C725A-89A3-4153-BB30-F09829AE080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485909" y="2481943"/>
            <a:ext cx="1363345" cy="1755647"/>
          </a:xfrm>
          <a:solidFill>
            <a:schemeClr val="accent4"/>
          </a:solidFill>
        </p:spPr>
        <p:txBody>
          <a:bodyPr lIns="180000" tIns="144000" rIns="180000" bIns="144000">
            <a:normAutofit/>
          </a:bodyPr>
          <a:lstStyle>
            <a:lvl1pPr marL="0" indent="0">
              <a:buNone/>
              <a:defRPr sz="1000"/>
            </a:lvl1pPr>
            <a:lvl2pPr marL="87313" indent="0">
              <a:buNone/>
              <a:defRPr sz="1000"/>
            </a:lvl2pPr>
            <a:lvl3pPr marL="179387" indent="0">
              <a:buNone/>
              <a:defRPr sz="1000"/>
            </a:lvl3pPr>
            <a:lvl4pPr marL="266700" indent="0">
              <a:buNone/>
              <a:defRPr sz="1000"/>
            </a:lvl4pPr>
            <a:lvl5pPr marL="360362" indent="0">
              <a:buNone/>
              <a:defRPr sz="10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12" name="Graphic 19">
            <a:extLst>
              <a:ext uri="{FF2B5EF4-FFF2-40B4-BE49-F238E27FC236}">
                <a16:creationId xmlns:a16="http://schemas.microsoft.com/office/drawing/2014/main" id="{691AC394-9248-4039-8E50-C101568C6709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43BDC3D-AD61-45CE-A8A1-490AAA5F00CD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9CAF52B-FEB5-4063-BF03-8DAB1A1DCD6E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6E4EF46-7899-44A1-AD87-170E9FD242E1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DB3F867-C063-43D5-B576-5CA83248993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D15FA3C-528C-40E5-BEE3-CF931ADE651A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54B0C5F-08F4-432F-A242-B454A9CC1C15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481C99C-C0CB-4857-A242-11A0F5F263FF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B9C1FBA-8D6B-43B7-896B-18A9BD443147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FE2845E-50B1-4929-8CCC-431CF1908DB9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0BCB425-0629-4FAE-892E-75DA29D6C70E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52423C4-146D-4CD1-AC12-13A6E50CD202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1204195-B8E8-4199-B513-4C624D7FF51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8E16977-2DA8-4FB8-BDBC-CB82EB8BD35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ABFEAA9-BFEC-4B3A-A94B-BD0A37BF1E42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1E90EE70-DDFA-4420-BFEC-9C360B6B5D14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8831A3E-F74A-4F0B-AF34-7995508C9D87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A55B767E-7BC8-405B-921D-D31733AD40F3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631A0B14-5829-43E9-8BDE-856A4C89923E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054B147-4296-4BE7-B95F-E88CD59482CC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D069002-3AB5-43B9-9E09-76B857DC35E4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346227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703" userDrawn="1">
          <p15:clr>
            <a:srgbClr val="FBAE40"/>
          </p15:clr>
        </p15:guide>
        <p15:guide id="6" pos="1906">
          <p15:clr>
            <a:srgbClr val="FBAE40"/>
          </p15:clr>
        </p15:guide>
        <p15:guide id="8" pos="4641" userDrawn="1">
          <p15:clr>
            <a:srgbClr val="FBAE40"/>
          </p15:clr>
        </p15:guide>
        <p15:guide id="9" pos="2765" userDrawn="1">
          <p15:clr>
            <a:srgbClr val="FBAE40"/>
          </p15:clr>
        </p15:guide>
        <p15:guide id="10" pos="2841" userDrawn="1">
          <p15:clr>
            <a:srgbClr val="FBAE40"/>
          </p15:clr>
        </p15:guide>
        <p15:guide id="11" pos="4713" userDrawn="1">
          <p15:clr>
            <a:srgbClr val="FBAE40"/>
          </p15:clr>
        </p15:guide>
        <p15:guide id="12" pos="3779" userDrawn="1">
          <p15:clr>
            <a:srgbClr val="FBAE40"/>
          </p15:clr>
        </p15:guide>
        <p15:guide id="13" pos="1837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nd picture">
    <p:bg>
      <p:bgPr>
        <a:solidFill>
          <a:schemeClr val="bg1">
            <a:alpha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aphic 19">
            <a:extLst>
              <a:ext uri="{FF2B5EF4-FFF2-40B4-BE49-F238E27FC236}">
                <a16:creationId xmlns:a16="http://schemas.microsoft.com/office/drawing/2014/main" id="{F9A4D9FD-CBA9-40AA-91C5-801F8F4B35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chemeClr val="bg1"/>
          </a:solidFill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FC5F8EEE-2027-46C3-82D5-D3E0B524B20A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D5E5DA65-E88D-4B8F-BDD0-D371EBFBC062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33BBA3BA-AF69-4109-AA0F-4A6BECA6C90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70480C05-4466-41F2-B953-A8E8FB25A334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4C14D13C-4832-499F-8903-ABB1786FF8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59C48CD1-6002-431D-B38B-08CFDB1A89EA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1B6BBB8E-0F04-4150-97B3-5404F99AFE74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A09964C1-6BBC-4245-B301-D30808802003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6D3991D-A712-44FA-89EB-7BDFB0DB4FE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5C6A05A4-5020-4952-82E3-51EC5D635195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6EC34952-04E0-420A-8BE3-831FB2616BFB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848EA399-3B88-4CA8-9D1A-293A2C3CD3BB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5B2ED039-0F80-4B51-AC5E-256F8FA436D2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A2667AFB-8508-4465-8CA5-6800BBB37E51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5421509-60E5-4A51-A352-5F4A3F8613A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D821F839-D929-4109-AA3A-3155D7A176F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414D6F91-D12D-4D3E-812A-BEBB42E63C46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D715EF96-BBC6-42A2-86B6-AC60005BD88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6900032B-B9B7-4593-AF87-A68F29EB641E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1043F203-4F1E-4B31-AA26-28D0D288B046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59" name="Picture Placeholder 58">
            <a:extLst>
              <a:ext uri="{FF2B5EF4-FFF2-40B4-BE49-F238E27FC236}">
                <a16:creationId xmlns:a16="http://schemas.microsoft.com/office/drawing/2014/main" id="{5AB387F6-333B-46D5-8551-80AE0CFDA72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347256 w 9144000"/>
              <a:gd name="connsiteY0" fmla="*/ 4985347 h 5143500"/>
              <a:gd name="connsiteX1" fmla="*/ 342841 w 9144000"/>
              <a:gd name="connsiteY1" fmla="*/ 4989763 h 5143500"/>
              <a:gd name="connsiteX2" fmla="*/ 347256 w 9144000"/>
              <a:gd name="connsiteY2" fmla="*/ 4994178 h 5143500"/>
              <a:gd name="connsiteX3" fmla="*/ 351671 w 9144000"/>
              <a:gd name="connsiteY3" fmla="*/ 4989762 h 5143500"/>
              <a:gd name="connsiteX4" fmla="*/ 351671 w 9144000"/>
              <a:gd name="connsiteY4" fmla="*/ 4989714 h 5143500"/>
              <a:gd name="connsiteX5" fmla="*/ 347304 w 9144000"/>
              <a:gd name="connsiteY5" fmla="*/ 4985347 h 5143500"/>
              <a:gd name="connsiteX6" fmla="*/ 347256 w 9144000"/>
              <a:gd name="connsiteY6" fmla="*/ 4985347 h 5143500"/>
              <a:gd name="connsiteX7" fmla="*/ 335514 w 9144000"/>
              <a:gd name="connsiteY7" fmla="*/ 4984571 h 5143500"/>
              <a:gd name="connsiteX8" fmla="*/ 330371 w 9144000"/>
              <a:gd name="connsiteY8" fmla="*/ 4989714 h 5143500"/>
              <a:gd name="connsiteX9" fmla="*/ 335514 w 9144000"/>
              <a:gd name="connsiteY9" fmla="*/ 4994857 h 5143500"/>
              <a:gd name="connsiteX10" fmla="*/ 340657 w 9144000"/>
              <a:gd name="connsiteY10" fmla="*/ 4989714 h 5143500"/>
              <a:gd name="connsiteX11" fmla="*/ 335514 w 9144000"/>
              <a:gd name="connsiteY11" fmla="*/ 4984571 h 5143500"/>
              <a:gd name="connsiteX12" fmla="*/ 358998 w 9144000"/>
              <a:gd name="connsiteY12" fmla="*/ 4972829 h 5143500"/>
              <a:gd name="connsiteX13" fmla="*/ 353855 w 9144000"/>
              <a:gd name="connsiteY13" fmla="*/ 4977972 h 5143500"/>
              <a:gd name="connsiteX14" fmla="*/ 358998 w 9144000"/>
              <a:gd name="connsiteY14" fmla="*/ 4983115 h 5143500"/>
              <a:gd name="connsiteX15" fmla="*/ 364141 w 9144000"/>
              <a:gd name="connsiteY15" fmla="*/ 4977972 h 5143500"/>
              <a:gd name="connsiteX16" fmla="*/ 358998 w 9144000"/>
              <a:gd name="connsiteY16" fmla="*/ 4972829 h 5143500"/>
              <a:gd name="connsiteX17" fmla="*/ 335514 w 9144000"/>
              <a:gd name="connsiteY17" fmla="*/ 4972102 h 5143500"/>
              <a:gd name="connsiteX18" fmla="*/ 329791 w 9144000"/>
              <a:gd name="connsiteY18" fmla="*/ 4978117 h 5143500"/>
              <a:gd name="connsiteX19" fmla="*/ 335805 w 9144000"/>
              <a:gd name="connsiteY19" fmla="*/ 4983840 h 5143500"/>
              <a:gd name="connsiteX20" fmla="*/ 341459 w 9144000"/>
              <a:gd name="connsiteY20" fmla="*/ 4978047 h 5143500"/>
              <a:gd name="connsiteX21" fmla="*/ 347256 w 9144000"/>
              <a:gd name="connsiteY21" fmla="*/ 4983844 h 5143500"/>
              <a:gd name="connsiteX22" fmla="*/ 353127 w 9144000"/>
              <a:gd name="connsiteY22" fmla="*/ 4977973 h 5143500"/>
              <a:gd name="connsiteX23" fmla="*/ 347256 w 9144000"/>
              <a:gd name="connsiteY23" fmla="*/ 4972102 h 5143500"/>
              <a:gd name="connsiteX24" fmla="*/ 341458 w 9144000"/>
              <a:gd name="connsiteY24" fmla="*/ 4977900 h 5143500"/>
              <a:gd name="connsiteX25" fmla="*/ 335660 w 9144000"/>
              <a:gd name="connsiteY25" fmla="*/ 4972102 h 5143500"/>
              <a:gd name="connsiteX26" fmla="*/ 370642 w 9144000"/>
              <a:gd name="connsiteY26" fmla="*/ 4961961 h 5143500"/>
              <a:gd name="connsiteX27" fmla="*/ 366227 w 9144000"/>
              <a:gd name="connsiteY27" fmla="*/ 4966376 h 5143500"/>
              <a:gd name="connsiteX28" fmla="*/ 370642 w 9144000"/>
              <a:gd name="connsiteY28" fmla="*/ 4970792 h 5143500"/>
              <a:gd name="connsiteX29" fmla="*/ 375057 w 9144000"/>
              <a:gd name="connsiteY29" fmla="*/ 4966376 h 5143500"/>
              <a:gd name="connsiteX30" fmla="*/ 370642 w 9144000"/>
              <a:gd name="connsiteY30" fmla="*/ 4961961 h 5143500"/>
              <a:gd name="connsiteX31" fmla="*/ 370643 w 9144000"/>
              <a:gd name="connsiteY31" fmla="*/ 4949297 h 5143500"/>
              <a:gd name="connsiteX32" fmla="*/ 365500 w 9144000"/>
              <a:gd name="connsiteY32" fmla="*/ 4954440 h 5143500"/>
              <a:gd name="connsiteX33" fmla="*/ 370643 w 9144000"/>
              <a:gd name="connsiteY33" fmla="*/ 4959583 h 5143500"/>
              <a:gd name="connsiteX34" fmla="*/ 375786 w 9144000"/>
              <a:gd name="connsiteY34" fmla="*/ 4954440 h 5143500"/>
              <a:gd name="connsiteX35" fmla="*/ 370643 w 9144000"/>
              <a:gd name="connsiteY35" fmla="*/ 4949297 h 5143500"/>
              <a:gd name="connsiteX36" fmla="*/ 358998 w 9144000"/>
              <a:gd name="connsiteY36" fmla="*/ 4948521 h 5143500"/>
              <a:gd name="connsiteX37" fmla="*/ 353079 w 9144000"/>
              <a:gd name="connsiteY37" fmla="*/ 4954440 h 5143500"/>
              <a:gd name="connsiteX38" fmla="*/ 358998 w 9144000"/>
              <a:gd name="connsiteY38" fmla="*/ 4960360 h 5143500"/>
              <a:gd name="connsiteX39" fmla="*/ 353127 w 9144000"/>
              <a:gd name="connsiteY39" fmla="*/ 4966231 h 5143500"/>
              <a:gd name="connsiteX40" fmla="*/ 358998 w 9144000"/>
              <a:gd name="connsiteY40" fmla="*/ 4972199 h 5143500"/>
              <a:gd name="connsiteX41" fmla="*/ 364965 w 9144000"/>
              <a:gd name="connsiteY41" fmla="*/ 4966328 h 5143500"/>
              <a:gd name="connsiteX42" fmla="*/ 359094 w 9144000"/>
              <a:gd name="connsiteY42" fmla="*/ 4960360 h 5143500"/>
              <a:gd name="connsiteX43" fmla="*/ 358998 w 9144000"/>
              <a:gd name="connsiteY43" fmla="*/ 4960360 h 5143500"/>
              <a:gd name="connsiteX44" fmla="*/ 364918 w 9144000"/>
              <a:gd name="connsiteY44" fmla="*/ 4954440 h 5143500"/>
              <a:gd name="connsiteX45" fmla="*/ 358998 w 9144000"/>
              <a:gd name="connsiteY45" fmla="*/ 4948521 h 5143500"/>
              <a:gd name="connsiteX46" fmla="*/ 625032 w 9144000"/>
              <a:gd name="connsiteY46" fmla="*/ 4939788 h 5143500"/>
              <a:gd name="connsiteX47" fmla="*/ 650020 w 9144000"/>
              <a:gd name="connsiteY47" fmla="*/ 4939788 h 5143500"/>
              <a:gd name="connsiteX48" fmla="*/ 650020 w 9144000"/>
              <a:gd name="connsiteY48" fmla="*/ 4948570 h 5143500"/>
              <a:gd name="connsiteX49" fmla="*/ 625032 w 9144000"/>
              <a:gd name="connsiteY49" fmla="*/ 4948570 h 5143500"/>
              <a:gd name="connsiteX50" fmla="*/ 487090 w 9144000"/>
              <a:gd name="connsiteY50" fmla="*/ 4939788 h 5143500"/>
              <a:gd name="connsiteX51" fmla="*/ 512078 w 9144000"/>
              <a:gd name="connsiteY51" fmla="*/ 4939788 h 5143500"/>
              <a:gd name="connsiteX52" fmla="*/ 511884 w 9144000"/>
              <a:gd name="connsiteY52" fmla="*/ 4948570 h 5143500"/>
              <a:gd name="connsiteX53" fmla="*/ 487090 w 9144000"/>
              <a:gd name="connsiteY53" fmla="*/ 4948570 h 5143500"/>
              <a:gd name="connsiteX54" fmla="*/ 573602 w 9144000"/>
              <a:gd name="connsiteY54" fmla="*/ 4939738 h 5143500"/>
              <a:gd name="connsiteX55" fmla="*/ 600045 w 9144000"/>
              <a:gd name="connsiteY55" fmla="*/ 4939738 h 5143500"/>
              <a:gd name="connsiteX56" fmla="*/ 600045 w 9144000"/>
              <a:gd name="connsiteY56" fmla="*/ 4966230 h 5143500"/>
              <a:gd name="connsiteX57" fmla="*/ 573602 w 9144000"/>
              <a:gd name="connsiteY57" fmla="*/ 4966230 h 5143500"/>
              <a:gd name="connsiteX58" fmla="*/ 737502 w 9144000"/>
              <a:gd name="connsiteY58" fmla="*/ 4930957 h 5143500"/>
              <a:gd name="connsiteX59" fmla="*/ 745556 w 9144000"/>
              <a:gd name="connsiteY59" fmla="*/ 4963271 h 5143500"/>
              <a:gd name="connsiteX60" fmla="*/ 757395 w 9144000"/>
              <a:gd name="connsiteY60" fmla="*/ 4975790 h 5143500"/>
              <a:gd name="connsiteX61" fmla="*/ 761713 w 9144000"/>
              <a:gd name="connsiteY61" fmla="*/ 4975790 h 5143500"/>
              <a:gd name="connsiteX62" fmla="*/ 761713 w 9144000"/>
              <a:gd name="connsiteY62" fmla="*/ 4985494 h 5143500"/>
              <a:gd name="connsiteX63" fmla="*/ 745556 w 9144000"/>
              <a:gd name="connsiteY63" fmla="*/ 4985494 h 5143500"/>
              <a:gd name="connsiteX64" fmla="*/ 745556 w 9144000"/>
              <a:gd name="connsiteY64" fmla="*/ 4994276 h 5143500"/>
              <a:gd name="connsiteX65" fmla="*/ 748516 w 9144000"/>
              <a:gd name="connsiteY65" fmla="*/ 4994276 h 5143500"/>
              <a:gd name="connsiteX66" fmla="*/ 770544 w 9144000"/>
              <a:gd name="connsiteY66" fmla="*/ 4978119 h 5143500"/>
              <a:gd name="connsiteX67" fmla="*/ 782286 w 9144000"/>
              <a:gd name="connsiteY67" fmla="*/ 4931103 h 5143500"/>
              <a:gd name="connsiteX68" fmla="*/ 771999 w 9144000"/>
              <a:gd name="connsiteY68" fmla="*/ 4930957 h 5143500"/>
              <a:gd name="connsiteX69" fmla="*/ 765401 w 9144000"/>
              <a:gd name="connsiteY69" fmla="*/ 4966231 h 5143500"/>
              <a:gd name="connsiteX70" fmla="*/ 754387 w 9144000"/>
              <a:gd name="connsiteY70" fmla="*/ 4966231 h 5143500"/>
              <a:gd name="connsiteX71" fmla="*/ 747788 w 9144000"/>
              <a:gd name="connsiteY71" fmla="*/ 4930957 h 5143500"/>
              <a:gd name="connsiteX72" fmla="*/ 730855 w 9144000"/>
              <a:gd name="connsiteY72" fmla="*/ 4930957 h 5143500"/>
              <a:gd name="connsiteX73" fmla="*/ 708885 w 9144000"/>
              <a:gd name="connsiteY73" fmla="*/ 4949820 h 5143500"/>
              <a:gd name="connsiteX74" fmla="*/ 708827 w 9144000"/>
              <a:gd name="connsiteY74" fmla="*/ 4951530 h 5143500"/>
              <a:gd name="connsiteX75" fmla="*/ 708827 w 9144000"/>
              <a:gd name="connsiteY75" fmla="*/ 4966086 h 5143500"/>
              <a:gd name="connsiteX76" fmla="*/ 702956 w 9144000"/>
              <a:gd name="connsiteY76" fmla="*/ 4966086 h 5143500"/>
              <a:gd name="connsiteX77" fmla="*/ 702956 w 9144000"/>
              <a:gd name="connsiteY77" fmla="*/ 4974916 h 5143500"/>
              <a:gd name="connsiteX78" fmla="*/ 733814 w 9144000"/>
              <a:gd name="connsiteY78" fmla="*/ 4974916 h 5143500"/>
              <a:gd name="connsiteX79" fmla="*/ 733814 w 9144000"/>
              <a:gd name="connsiteY79" fmla="*/ 4966086 h 5143500"/>
              <a:gd name="connsiteX80" fmla="*/ 717657 w 9144000"/>
              <a:gd name="connsiteY80" fmla="*/ 4966086 h 5143500"/>
              <a:gd name="connsiteX81" fmla="*/ 717657 w 9144000"/>
              <a:gd name="connsiteY81" fmla="*/ 4939788 h 5143500"/>
              <a:gd name="connsiteX82" fmla="*/ 730855 w 9144000"/>
              <a:gd name="connsiteY82" fmla="*/ 4939788 h 5143500"/>
              <a:gd name="connsiteX83" fmla="*/ 661180 w 9144000"/>
              <a:gd name="connsiteY83" fmla="*/ 4930957 h 5143500"/>
              <a:gd name="connsiteX84" fmla="*/ 670010 w 9144000"/>
              <a:gd name="connsiteY84" fmla="*/ 4964921 h 5143500"/>
              <a:gd name="connsiteX85" fmla="*/ 683256 w 9144000"/>
              <a:gd name="connsiteY85" fmla="*/ 4975984 h 5143500"/>
              <a:gd name="connsiteX86" fmla="*/ 696454 w 9144000"/>
              <a:gd name="connsiteY86" fmla="*/ 4964921 h 5143500"/>
              <a:gd name="connsiteX87" fmla="*/ 705284 w 9144000"/>
              <a:gd name="connsiteY87" fmla="*/ 4930957 h 5143500"/>
              <a:gd name="connsiteX88" fmla="*/ 694853 w 9144000"/>
              <a:gd name="connsiteY88" fmla="*/ 4930957 h 5143500"/>
              <a:gd name="connsiteX89" fmla="*/ 687526 w 9144000"/>
              <a:gd name="connsiteY89" fmla="*/ 4966231 h 5143500"/>
              <a:gd name="connsiteX90" fmla="*/ 678695 w 9144000"/>
              <a:gd name="connsiteY90" fmla="*/ 4966231 h 5143500"/>
              <a:gd name="connsiteX91" fmla="*/ 671466 w 9144000"/>
              <a:gd name="connsiteY91" fmla="*/ 4930957 h 5143500"/>
              <a:gd name="connsiteX92" fmla="*/ 445655 w 9144000"/>
              <a:gd name="connsiteY92" fmla="*/ 4930957 h 5143500"/>
              <a:gd name="connsiteX93" fmla="*/ 445655 w 9144000"/>
              <a:gd name="connsiteY93" fmla="*/ 4939739 h 5143500"/>
              <a:gd name="connsiteX94" fmla="*/ 458852 w 9144000"/>
              <a:gd name="connsiteY94" fmla="*/ 4939739 h 5143500"/>
              <a:gd name="connsiteX95" fmla="*/ 458852 w 9144000"/>
              <a:gd name="connsiteY95" fmla="*/ 4966231 h 5143500"/>
              <a:gd name="connsiteX96" fmla="*/ 450070 w 9144000"/>
              <a:gd name="connsiteY96" fmla="*/ 4966231 h 5143500"/>
              <a:gd name="connsiteX97" fmla="*/ 450070 w 9144000"/>
              <a:gd name="connsiteY97" fmla="*/ 4975013 h 5143500"/>
              <a:gd name="connsiteX98" fmla="*/ 476513 w 9144000"/>
              <a:gd name="connsiteY98" fmla="*/ 4975013 h 5143500"/>
              <a:gd name="connsiteX99" fmla="*/ 476513 w 9144000"/>
              <a:gd name="connsiteY99" fmla="*/ 4966231 h 5143500"/>
              <a:gd name="connsiteX100" fmla="*/ 467683 w 9144000"/>
              <a:gd name="connsiteY100" fmla="*/ 4966231 h 5143500"/>
              <a:gd name="connsiteX101" fmla="*/ 467683 w 9144000"/>
              <a:gd name="connsiteY101" fmla="*/ 4952257 h 5143500"/>
              <a:gd name="connsiteX102" fmla="*/ 445655 w 9144000"/>
              <a:gd name="connsiteY102" fmla="*/ 4930957 h 5143500"/>
              <a:gd name="connsiteX103" fmla="*/ 586848 w 9144000"/>
              <a:gd name="connsiteY103" fmla="*/ 4930228 h 5143500"/>
              <a:gd name="connsiteX104" fmla="*/ 563995 w 9144000"/>
              <a:gd name="connsiteY104" fmla="*/ 4952984 h 5143500"/>
              <a:gd name="connsiteX105" fmla="*/ 586751 w 9144000"/>
              <a:gd name="connsiteY105" fmla="*/ 4975837 h 5143500"/>
              <a:gd name="connsiteX106" fmla="*/ 609603 w 9144000"/>
              <a:gd name="connsiteY106" fmla="*/ 4953081 h 5143500"/>
              <a:gd name="connsiteX107" fmla="*/ 609603 w 9144000"/>
              <a:gd name="connsiteY107" fmla="*/ 4952984 h 5143500"/>
              <a:gd name="connsiteX108" fmla="*/ 587829 w 9144000"/>
              <a:gd name="connsiteY108" fmla="*/ 4930228 h 5143500"/>
              <a:gd name="connsiteX109" fmla="*/ 586848 w 9144000"/>
              <a:gd name="connsiteY109" fmla="*/ 4930228 h 5143500"/>
              <a:gd name="connsiteX110" fmla="*/ 500054 w 9144000"/>
              <a:gd name="connsiteY110" fmla="*/ 4930221 h 5143500"/>
              <a:gd name="connsiteX111" fmla="*/ 499560 w 9144000"/>
              <a:gd name="connsiteY111" fmla="*/ 4930229 h 5143500"/>
              <a:gd name="connsiteX112" fmla="*/ 499366 w 9144000"/>
              <a:gd name="connsiteY112" fmla="*/ 4930229 h 5143500"/>
              <a:gd name="connsiteX113" fmla="*/ 476619 w 9144000"/>
              <a:gd name="connsiteY113" fmla="*/ 4951714 h 5143500"/>
              <a:gd name="connsiteX114" fmla="*/ 476610 w 9144000"/>
              <a:gd name="connsiteY114" fmla="*/ 4952257 h 5143500"/>
              <a:gd name="connsiteX115" fmla="*/ 498638 w 9144000"/>
              <a:gd name="connsiteY115" fmla="*/ 4975013 h 5143500"/>
              <a:gd name="connsiteX116" fmla="*/ 517755 w 9144000"/>
              <a:gd name="connsiteY116" fmla="*/ 4975013 h 5143500"/>
              <a:gd name="connsiteX117" fmla="*/ 517755 w 9144000"/>
              <a:gd name="connsiteY117" fmla="*/ 4966231 h 5143500"/>
              <a:gd name="connsiteX118" fmla="*/ 487090 w 9144000"/>
              <a:gd name="connsiteY118" fmla="*/ 4966231 h 5143500"/>
              <a:gd name="connsiteX119" fmla="*/ 487090 w 9144000"/>
              <a:gd name="connsiteY119" fmla="*/ 4957400 h 5143500"/>
              <a:gd name="connsiteX120" fmla="*/ 522364 w 9144000"/>
              <a:gd name="connsiteY120" fmla="*/ 4957400 h 5143500"/>
              <a:gd name="connsiteX121" fmla="*/ 522364 w 9144000"/>
              <a:gd name="connsiteY121" fmla="*/ 4952257 h 5143500"/>
              <a:gd name="connsiteX122" fmla="*/ 500054 w 9144000"/>
              <a:gd name="connsiteY122" fmla="*/ 4930221 h 5143500"/>
              <a:gd name="connsiteX123" fmla="*/ 638045 w 9144000"/>
              <a:gd name="connsiteY123" fmla="*/ 4930220 h 5143500"/>
              <a:gd name="connsiteX124" fmla="*/ 637502 w 9144000"/>
              <a:gd name="connsiteY124" fmla="*/ 4930229 h 5143500"/>
              <a:gd name="connsiteX125" fmla="*/ 614706 w 9144000"/>
              <a:gd name="connsiteY125" fmla="*/ 4951763 h 5143500"/>
              <a:gd name="connsiteX126" fmla="*/ 614698 w 9144000"/>
              <a:gd name="connsiteY126" fmla="*/ 4952257 h 5143500"/>
              <a:gd name="connsiteX127" fmla="*/ 636774 w 9144000"/>
              <a:gd name="connsiteY127" fmla="*/ 4975013 h 5143500"/>
              <a:gd name="connsiteX128" fmla="*/ 655843 w 9144000"/>
              <a:gd name="connsiteY128" fmla="*/ 4975013 h 5143500"/>
              <a:gd name="connsiteX129" fmla="*/ 655843 w 9144000"/>
              <a:gd name="connsiteY129" fmla="*/ 4966231 h 5143500"/>
              <a:gd name="connsiteX130" fmla="*/ 624984 w 9144000"/>
              <a:gd name="connsiteY130" fmla="*/ 4966231 h 5143500"/>
              <a:gd name="connsiteX131" fmla="*/ 624984 w 9144000"/>
              <a:gd name="connsiteY131" fmla="*/ 4957400 h 5143500"/>
              <a:gd name="connsiteX132" fmla="*/ 660258 w 9144000"/>
              <a:gd name="connsiteY132" fmla="*/ 4957400 h 5143500"/>
              <a:gd name="connsiteX133" fmla="*/ 660258 w 9144000"/>
              <a:gd name="connsiteY133" fmla="*/ 4952257 h 5143500"/>
              <a:gd name="connsiteX134" fmla="*/ 638045 w 9144000"/>
              <a:gd name="connsiteY134" fmla="*/ 4930220 h 5143500"/>
              <a:gd name="connsiteX135" fmla="*/ 459046 w 9144000"/>
              <a:gd name="connsiteY135" fmla="*/ 4915139 h 5143500"/>
              <a:gd name="connsiteX136" fmla="*/ 452739 w 9144000"/>
              <a:gd name="connsiteY136" fmla="*/ 4921350 h 5143500"/>
              <a:gd name="connsiteX137" fmla="*/ 452739 w 9144000"/>
              <a:gd name="connsiteY137" fmla="*/ 4921398 h 5143500"/>
              <a:gd name="connsiteX138" fmla="*/ 458949 w 9144000"/>
              <a:gd name="connsiteY138" fmla="*/ 4927657 h 5143500"/>
              <a:gd name="connsiteX139" fmla="*/ 465257 w 9144000"/>
              <a:gd name="connsiteY139" fmla="*/ 4921447 h 5143500"/>
              <a:gd name="connsiteX140" fmla="*/ 459046 w 9144000"/>
              <a:gd name="connsiteY140" fmla="*/ 4915139 h 5143500"/>
              <a:gd name="connsiteX141" fmla="*/ 318127 w 9144000"/>
              <a:gd name="connsiteY141" fmla="*/ 4913726 h 5143500"/>
              <a:gd name="connsiteX142" fmla="*/ 318127 w 9144000"/>
              <a:gd name="connsiteY142" fmla="*/ 4925468 h 5143500"/>
              <a:gd name="connsiteX143" fmla="*/ 306337 w 9144000"/>
              <a:gd name="connsiteY143" fmla="*/ 4925468 h 5143500"/>
              <a:gd name="connsiteX144" fmla="*/ 306337 w 9144000"/>
              <a:gd name="connsiteY144" fmla="*/ 4937258 h 5143500"/>
              <a:gd name="connsiteX145" fmla="*/ 294595 w 9144000"/>
              <a:gd name="connsiteY145" fmla="*/ 4937258 h 5143500"/>
              <a:gd name="connsiteX146" fmla="*/ 294595 w 9144000"/>
              <a:gd name="connsiteY146" fmla="*/ 4949000 h 5143500"/>
              <a:gd name="connsiteX147" fmla="*/ 294595 w 9144000"/>
              <a:gd name="connsiteY147" fmla="*/ 4960742 h 5143500"/>
              <a:gd name="connsiteX148" fmla="*/ 306337 w 9144000"/>
              <a:gd name="connsiteY148" fmla="*/ 4960742 h 5143500"/>
              <a:gd name="connsiteX149" fmla="*/ 318127 w 9144000"/>
              <a:gd name="connsiteY149" fmla="*/ 4960742 h 5143500"/>
              <a:gd name="connsiteX150" fmla="*/ 318127 w 9144000"/>
              <a:gd name="connsiteY150" fmla="*/ 4949000 h 5143500"/>
              <a:gd name="connsiteX151" fmla="*/ 318127 w 9144000"/>
              <a:gd name="connsiteY151" fmla="*/ 4937258 h 5143500"/>
              <a:gd name="connsiteX152" fmla="*/ 329869 w 9144000"/>
              <a:gd name="connsiteY152" fmla="*/ 4937258 h 5143500"/>
              <a:gd name="connsiteX153" fmla="*/ 341611 w 9144000"/>
              <a:gd name="connsiteY153" fmla="*/ 4937258 h 5143500"/>
              <a:gd name="connsiteX154" fmla="*/ 341611 w 9144000"/>
              <a:gd name="connsiteY154" fmla="*/ 4925468 h 5143500"/>
              <a:gd name="connsiteX155" fmla="*/ 341611 w 9144000"/>
              <a:gd name="connsiteY155" fmla="*/ 4913726 h 5143500"/>
              <a:gd name="connsiteX156" fmla="*/ 329869 w 9144000"/>
              <a:gd name="connsiteY156" fmla="*/ 4913726 h 5143500"/>
              <a:gd name="connsiteX157" fmla="*/ 533912 w 9144000"/>
              <a:gd name="connsiteY157" fmla="*/ 4913441 h 5143500"/>
              <a:gd name="connsiteX158" fmla="*/ 533912 w 9144000"/>
              <a:gd name="connsiteY158" fmla="*/ 4931102 h 5143500"/>
              <a:gd name="connsiteX159" fmla="*/ 523626 w 9144000"/>
              <a:gd name="connsiteY159" fmla="*/ 4931102 h 5143500"/>
              <a:gd name="connsiteX160" fmla="*/ 523626 w 9144000"/>
              <a:gd name="connsiteY160" fmla="*/ 4939933 h 5143500"/>
              <a:gd name="connsiteX161" fmla="*/ 533912 w 9144000"/>
              <a:gd name="connsiteY161" fmla="*/ 4939933 h 5143500"/>
              <a:gd name="connsiteX162" fmla="*/ 533912 w 9144000"/>
              <a:gd name="connsiteY162" fmla="*/ 4953858 h 5143500"/>
              <a:gd name="connsiteX163" fmla="*/ 555212 w 9144000"/>
              <a:gd name="connsiteY163" fmla="*/ 4975207 h 5143500"/>
              <a:gd name="connsiteX164" fmla="*/ 561859 w 9144000"/>
              <a:gd name="connsiteY164" fmla="*/ 4975207 h 5143500"/>
              <a:gd name="connsiteX165" fmla="*/ 561859 w 9144000"/>
              <a:gd name="connsiteY165" fmla="*/ 4966376 h 5143500"/>
              <a:gd name="connsiteX166" fmla="*/ 542743 w 9144000"/>
              <a:gd name="connsiteY166" fmla="*/ 4966376 h 5143500"/>
              <a:gd name="connsiteX167" fmla="*/ 542743 w 9144000"/>
              <a:gd name="connsiteY167" fmla="*/ 4939787 h 5143500"/>
              <a:gd name="connsiteX168" fmla="*/ 557299 w 9144000"/>
              <a:gd name="connsiteY168" fmla="*/ 4939787 h 5143500"/>
              <a:gd name="connsiteX169" fmla="*/ 557299 w 9144000"/>
              <a:gd name="connsiteY169" fmla="*/ 4930957 h 5143500"/>
              <a:gd name="connsiteX170" fmla="*/ 542743 w 9144000"/>
              <a:gd name="connsiteY170" fmla="*/ 4930957 h 5143500"/>
              <a:gd name="connsiteX171" fmla="*/ 542743 w 9144000"/>
              <a:gd name="connsiteY171" fmla="*/ 4913441 h 5143500"/>
              <a:gd name="connsiteX172" fmla="*/ 416348 w 9144000"/>
              <a:gd name="connsiteY172" fmla="*/ 4913441 h 5143500"/>
              <a:gd name="connsiteX173" fmla="*/ 416348 w 9144000"/>
              <a:gd name="connsiteY173" fmla="*/ 4931102 h 5143500"/>
              <a:gd name="connsiteX174" fmla="*/ 406062 w 9144000"/>
              <a:gd name="connsiteY174" fmla="*/ 4931102 h 5143500"/>
              <a:gd name="connsiteX175" fmla="*/ 406062 w 9144000"/>
              <a:gd name="connsiteY175" fmla="*/ 4939933 h 5143500"/>
              <a:gd name="connsiteX176" fmla="*/ 416348 w 9144000"/>
              <a:gd name="connsiteY176" fmla="*/ 4939933 h 5143500"/>
              <a:gd name="connsiteX177" fmla="*/ 416348 w 9144000"/>
              <a:gd name="connsiteY177" fmla="*/ 4953130 h 5143500"/>
              <a:gd name="connsiteX178" fmla="*/ 437648 w 9144000"/>
              <a:gd name="connsiteY178" fmla="*/ 4975207 h 5143500"/>
              <a:gd name="connsiteX179" fmla="*/ 441336 w 9144000"/>
              <a:gd name="connsiteY179" fmla="*/ 4975207 h 5143500"/>
              <a:gd name="connsiteX180" fmla="*/ 441336 w 9144000"/>
              <a:gd name="connsiteY180" fmla="*/ 4966376 h 5143500"/>
              <a:gd name="connsiteX181" fmla="*/ 425179 w 9144000"/>
              <a:gd name="connsiteY181" fmla="*/ 4966376 h 5143500"/>
              <a:gd name="connsiteX182" fmla="*/ 425179 w 9144000"/>
              <a:gd name="connsiteY182" fmla="*/ 4939787 h 5143500"/>
              <a:gd name="connsiteX183" fmla="*/ 436920 w 9144000"/>
              <a:gd name="connsiteY183" fmla="*/ 4939787 h 5143500"/>
              <a:gd name="connsiteX184" fmla="*/ 436920 w 9144000"/>
              <a:gd name="connsiteY184" fmla="*/ 4930957 h 5143500"/>
              <a:gd name="connsiteX185" fmla="*/ 425179 w 9144000"/>
              <a:gd name="connsiteY185" fmla="*/ 4930957 h 5143500"/>
              <a:gd name="connsiteX186" fmla="*/ 425179 w 9144000"/>
              <a:gd name="connsiteY186" fmla="*/ 4913441 h 5143500"/>
              <a:gd name="connsiteX187" fmla="*/ 0 w 9144000"/>
              <a:gd name="connsiteY187" fmla="*/ 0 h 5143500"/>
              <a:gd name="connsiteX188" fmla="*/ 9144000 w 9144000"/>
              <a:gd name="connsiteY188" fmla="*/ 0 h 5143500"/>
              <a:gd name="connsiteX189" fmla="*/ 9144000 w 9144000"/>
              <a:gd name="connsiteY189" fmla="*/ 5143500 h 5143500"/>
              <a:gd name="connsiteX190" fmla="*/ 0 w 9144000"/>
              <a:gd name="connsiteY190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</a:cxnLst>
            <a:rect l="l" t="t" r="r" b="b"/>
            <a:pathLst>
              <a:path w="9144000" h="5143500">
                <a:moveTo>
                  <a:pt x="347256" y="4985347"/>
                </a:moveTo>
                <a:cubicBezTo>
                  <a:pt x="344817" y="4985347"/>
                  <a:pt x="342841" y="4987324"/>
                  <a:pt x="342841" y="4989763"/>
                </a:cubicBezTo>
                <a:cubicBezTo>
                  <a:pt x="342841" y="4992202"/>
                  <a:pt x="344818" y="4994178"/>
                  <a:pt x="347256" y="4994178"/>
                </a:cubicBezTo>
                <a:cubicBezTo>
                  <a:pt x="349695" y="4994178"/>
                  <a:pt x="351671" y="4992201"/>
                  <a:pt x="351671" y="4989762"/>
                </a:cubicBezTo>
                <a:cubicBezTo>
                  <a:pt x="351671" y="4989746"/>
                  <a:pt x="351671" y="4989730"/>
                  <a:pt x="351671" y="4989714"/>
                </a:cubicBezTo>
                <a:cubicBezTo>
                  <a:pt x="351671" y="4987302"/>
                  <a:pt x="349716" y="4985347"/>
                  <a:pt x="347304" y="4985347"/>
                </a:cubicBezTo>
                <a:cubicBezTo>
                  <a:pt x="347288" y="4985347"/>
                  <a:pt x="347272" y="4985347"/>
                  <a:pt x="347256" y="4985347"/>
                </a:cubicBezTo>
                <a:close/>
                <a:moveTo>
                  <a:pt x="335514" y="4984571"/>
                </a:moveTo>
                <a:cubicBezTo>
                  <a:pt x="332673" y="4984571"/>
                  <a:pt x="330371" y="4986874"/>
                  <a:pt x="330371" y="4989714"/>
                </a:cubicBezTo>
                <a:cubicBezTo>
                  <a:pt x="330371" y="4992555"/>
                  <a:pt x="332673" y="4994857"/>
                  <a:pt x="335514" y="4994857"/>
                </a:cubicBezTo>
                <a:cubicBezTo>
                  <a:pt x="338354" y="4994857"/>
                  <a:pt x="340657" y="4992555"/>
                  <a:pt x="340657" y="4989714"/>
                </a:cubicBezTo>
                <a:cubicBezTo>
                  <a:pt x="340657" y="4986874"/>
                  <a:pt x="338354" y="4984571"/>
                  <a:pt x="335514" y="4984571"/>
                </a:cubicBezTo>
                <a:close/>
                <a:moveTo>
                  <a:pt x="358998" y="4972829"/>
                </a:moveTo>
                <a:cubicBezTo>
                  <a:pt x="356157" y="4972829"/>
                  <a:pt x="353855" y="4975132"/>
                  <a:pt x="353855" y="4977972"/>
                </a:cubicBezTo>
                <a:cubicBezTo>
                  <a:pt x="353855" y="4980813"/>
                  <a:pt x="356157" y="4983115"/>
                  <a:pt x="358998" y="4983115"/>
                </a:cubicBezTo>
                <a:cubicBezTo>
                  <a:pt x="361838" y="4983115"/>
                  <a:pt x="364141" y="4980813"/>
                  <a:pt x="364141" y="4977972"/>
                </a:cubicBezTo>
                <a:cubicBezTo>
                  <a:pt x="364141" y="4975132"/>
                  <a:pt x="361838" y="4972829"/>
                  <a:pt x="358998" y="4972829"/>
                </a:cubicBezTo>
                <a:close/>
                <a:moveTo>
                  <a:pt x="335514" y="4972102"/>
                </a:moveTo>
                <a:cubicBezTo>
                  <a:pt x="332273" y="4972182"/>
                  <a:pt x="329710" y="4974875"/>
                  <a:pt x="329791" y="4978117"/>
                </a:cubicBezTo>
                <a:cubicBezTo>
                  <a:pt x="329871" y="4981358"/>
                  <a:pt x="332564" y="4983921"/>
                  <a:pt x="335805" y="4983840"/>
                </a:cubicBezTo>
                <a:lnTo>
                  <a:pt x="341459" y="4978047"/>
                </a:lnTo>
                <a:lnTo>
                  <a:pt x="347256" y="4983844"/>
                </a:lnTo>
                <a:cubicBezTo>
                  <a:pt x="350498" y="4983844"/>
                  <a:pt x="353127" y="4981215"/>
                  <a:pt x="353127" y="4977973"/>
                </a:cubicBezTo>
                <a:cubicBezTo>
                  <a:pt x="353127" y="4974730"/>
                  <a:pt x="350498" y="4972102"/>
                  <a:pt x="347256" y="4972102"/>
                </a:cubicBezTo>
                <a:lnTo>
                  <a:pt x="341458" y="4977900"/>
                </a:lnTo>
                <a:lnTo>
                  <a:pt x="335660" y="4972102"/>
                </a:lnTo>
                <a:close/>
                <a:moveTo>
                  <a:pt x="370642" y="4961961"/>
                </a:moveTo>
                <a:cubicBezTo>
                  <a:pt x="368204" y="4961961"/>
                  <a:pt x="366227" y="4963938"/>
                  <a:pt x="366227" y="4966376"/>
                </a:cubicBezTo>
                <a:cubicBezTo>
                  <a:pt x="366227" y="4968815"/>
                  <a:pt x="368204" y="4970792"/>
                  <a:pt x="370642" y="4970792"/>
                </a:cubicBezTo>
                <a:cubicBezTo>
                  <a:pt x="373081" y="4970792"/>
                  <a:pt x="375057" y="4968815"/>
                  <a:pt x="375057" y="4966376"/>
                </a:cubicBezTo>
                <a:cubicBezTo>
                  <a:pt x="375057" y="4963938"/>
                  <a:pt x="373081" y="4961961"/>
                  <a:pt x="370642" y="4961961"/>
                </a:cubicBezTo>
                <a:close/>
                <a:moveTo>
                  <a:pt x="370643" y="4949297"/>
                </a:moveTo>
                <a:cubicBezTo>
                  <a:pt x="367802" y="4949297"/>
                  <a:pt x="365500" y="4951600"/>
                  <a:pt x="365500" y="4954440"/>
                </a:cubicBezTo>
                <a:cubicBezTo>
                  <a:pt x="365500" y="4957281"/>
                  <a:pt x="367802" y="4959583"/>
                  <a:pt x="370643" y="4959583"/>
                </a:cubicBezTo>
                <a:cubicBezTo>
                  <a:pt x="373483" y="4959583"/>
                  <a:pt x="375786" y="4957281"/>
                  <a:pt x="375786" y="4954440"/>
                </a:cubicBezTo>
                <a:cubicBezTo>
                  <a:pt x="375786" y="4951600"/>
                  <a:pt x="373483" y="4949297"/>
                  <a:pt x="370643" y="4949297"/>
                </a:cubicBezTo>
                <a:close/>
                <a:moveTo>
                  <a:pt x="358998" y="4948521"/>
                </a:moveTo>
                <a:cubicBezTo>
                  <a:pt x="355729" y="4948521"/>
                  <a:pt x="353079" y="4951171"/>
                  <a:pt x="353079" y="4954440"/>
                </a:cubicBezTo>
                <a:cubicBezTo>
                  <a:pt x="353079" y="4957710"/>
                  <a:pt x="355729" y="4960360"/>
                  <a:pt x="358998" y="4960360"/>
                </a:cubicBezTo>
                <a:cubicBezTo>
                  <a:pt x="355755" y="4960360"/>
                  <a:pt x="353127" y="4962989"/>
                  <a:pt x="353127" y="4966231"/>
                </a:cubicBezTo>
                <a:cubicBezTo>
                  <a:pt x="353100" y="4969500"/>
                  <a:pt x="355729" y="4972172"/>
                  <a:pt x="358998" y="4972199"/>
                </a:cubicBezTo>
                <a:cubicBezTo>
                  <a:pt x="362267" y="4972225"/>
                  <a:pt x="364939" y="4969597"/>
                  <a:pt x="364965" y="4966328"/>
                </a:cubicBezTo>
                <a:cubicBezTo>
                  <a:pt x="364992" y="4963059"/>
                  <a:pt x="362364" y="4960387"/>
                  <a:pt x="359094" y="4960360"/>
                </a:cubicBezTo>
                <a:cubicBezTo>
                  <a:pt x="359062" y="4960360"/>
                  <a:pt x="359030" y="4960360"/>
                  <a:pt x="358998" y="4960360"/>
                </a:cubicBezTo>
                <a:cubicBezTo>
                  <a:pt x="362267" y="4960360"/>
                  <a:pt x="364918" y="4957710"/>
                  <a:pt x="364918" y="4954440"/>
                </a:cubicBezTo>
                <a:cubicBezTo>
                  <a:pt x="364918" y="4951171"/>
                  <a:pt x="362267" y="4948521"/>
                  <a:pt x="358998" y="4948521"/>
                </a:cubicBezTo>
                <a:close/>
                <a:moveTo>
                  <a:pt x="625032" y="4939788"/>
                </a:moveTo>
                <a:lnTo>
                  <a:pt x="650020" y="4939788"/>
                </a:lnTo>
                <a:lnTo>
                  <a:pt x="650020" y="4948570"/>
                </a:lnTo>
                <a:lnTo>
                  <a:pt x="625032" y="4948570"/>
                </a:lnTo>
                <a:close/>
                <a:moveTo>
                  <a:pt x="487090" y="4939788"/>
                </a:moveTo>
                <a:lnTo>
                  <a:pt x="512078" y="4939788"/>
                </a:lnTo>
                <a:lnTo>
                  <a:pt x="511884" y="4948570"/>
                </a:lnTo>
                <a:lnTo>
                  <a:pt x="487090" y="4948570"/>
                </a:lnTo>
                <a:close/>
                <a:moveTo>
                  <a:pt x="573602" y="4939738"/>
                </a:moveTo>
                <a:lnTo>
                  <a:pt x="600045" y="4939738"/>
                </a:lnTo>
                <a:lnTo>
                  <a:pt x="600045" y="4966230"/>
                </a:lnTo>
                <a:lnTo>
                  <a:pt x="573602" y="4966230"/>
                </a:lnTo>
                <a:close/>
                <a:moveTo>
                  <a:pt x="737502" y="4930957"/>
                </a:moveTo>
                <a:cubicBezTo>
                  <a:pt x="737502" y="4930957"/>
                  <a:pt x="744197" y="4957740"/>
                  <a:pt x="745556" y="4963271"/>
                </a:cubicBezTo>
                <a:cubicBezTo>
                  <a:pt x="746915" y="4968803"/>
                  <a:pt x="750020" y="4975790"/>
                  <a:pt x="757395" y="4975790"/>
                </a:cubicBezTo>
                <a:lnTo>
                  <a:pt x="761713" y="4975790"/>
                </a:lnTo>
                <a:lnTo>
                  <a:pt x="761713" y="4985494"/>
                </a:lnTo>
                <a:lnTo>
                  <a:pt x="745556" y="4985494"/>
                </a:lnTo>
                <a:lnTo>
                  <a:pt x="745556" y="4994276"/>
                </a:lnTo>
                <a:lnTo>
                  <a:pt x="748516" y="4994276"/>
                </a:lnTo>
                <a:cubicBezTo>
                  <a:pt x="758603" y="4994291"/>
                  <a:pt x="767528" y="4987745"/>
                  <a:pt x="770544" y="4978119"/>
                </a:cubicBezTo>
                <a:cubicBezTo>
                  <a:pt x="772630" y="4969822"/>
                  <a:pt x="782286" y="4931103"/>
                  <a:pt x="782286" y="4931103"/>
                </a:cubicBezTo>
                <a:lnTo>
                  <a:pt x="771999" y="4930957"/>
                </a:lnTo>
                <a:lnTo>
                  <a:pt x="765401" y="4966231"/>
                </a:lnTo>
                <a:lnTo>
                  <a:pt x="754387" y="4966231"/>
                </a:lnTo>
                <a:lnTo>
                  <a:pt x="747788" y="4930957"/>
                </a:lnTo>
                <a:close/>
                <a:moveTo>
                  <a:pt x="730855" y="4930957"/>
                </a:moveTo>
                <a:cubicBezTo>
                  <a:pt x="719579" y="4930099"/>
                  <a:pt x="709743" y="4938544"/>
                  <a:pt x="708885" y="4949820"/>
                </a:cubicBezTo>
                <a:cubicBezTo>
                  <a:pt x="708842" y="4950389"/>
                  <a:pt x="708822" y="4950959"/>
                  <a:pt x="708827" y="4951530"/>
                </a:cubicBezTo>
                <a:lnTo>
                  <a:pt x="708827" y="4966086"/>
                </a:lnTo>
                <a:lnTo>
                  <a:pt x="702956" y="4966086"/>
                </a:lnTo>
                <a:lnTo>
                  <a:pt x="702956" y="4974916"/>
                </a:lnTo>
                <a:lnTo>
                  <a:pt x="733814" y="4974916"/>
                </a:lnTo>
                <a:lnTo>
                  <a:pt x="733814" y="4966086"/>
                </a:lnTo>
                <a:lnTo>
                  <a:pt x="717657" y="4966086"/>
                </a:lnTo>
                <a:lnTo>
                  <a:pt x="717657" y="4939788"/>
                </a:lnTo>
                <a:lnTo>
                  <a:pt x="730855" y="4939788"/>
                </a:lnTo>
                <a:close/>
                <a:moveTo>
                  <a:pt x="661180" y="4930957"/>
                </a:moveTo>
                <a:cubicBezTo>
                  <a:pt x="661180" y="4930957"/>
                  <a:pt x="667681" y="4955945"/>
                  <a:pt x="670010" y="4964921"/>
                </a:cubicBezTo>
                <a:cubicBezTo>
                  <a:pt x="670841" y="4971512"/>
                  <a:pt x="676623" y="4976341"/>
                  <a:pt x="683256" y="4975984"/>
                </a:cubicBezTo>
                <a:cubicBezTo>
                  <a:pt x="690534" y="4975984"/>
                  <a:pt x="694270" y="4973752"/>
                  <a:pt x="696454" y="4964921"/>
                </a:cubicBezTo>
                <a:cubicBezTo>
                  <a:pt x="698637" y="4956091"/>
                  <a:pt x="705284" y="4930957"/>
                  <a:pt x="705284" y="4930957"/>
                </a:cubicBezTo>
                <a:lnTo>
                  <a:pt x="694853" y="4930957"/>
                </a:lnTo>
                <a:lnTo>
                  <a:pt x="687526" y="4966231"/>
                </a:lnTo>
                <a:lnTo>
                  <a:pt x="678695" y="4966231"/>
                </a:lnTo>
                <a:lnTo>
                  <a:pt x="671466" y="4930957"/>
                </a:lnTo>
                <a:close/>
                <a:moveTo>
                  <a:pt x="445655" y="4930957"/>
                </a:moveTo>
                <a:lnTo>
                  <a:pt x="445655" y="4939739"/>
                </a:lnTo>
                <a:lnTo>
                  <a:pt x="458852" y="4939739"/>
                </a:lnTo>
                <a:lnTo>
                  <a:pt x="458852" y="4966231"/>
                </a:lnTo>
                <a:lnTo>
                  <a:pt x="450070" y="4966231"/>
                </a:lnTo>
                <a:lnTo>
                  <a:pt x="450070" y="4975013"/>
                </a:lnTo>
                <a:lnTo>
                  <a:pt x="476513" y="4975013"/>
                </a:lnTo>
                <a:lnTo>
                  <a:pt x="476513" y="4966231"/>
                </a:lnTo>
                <a:lnTo>
                  <a:pt x="467683" y="4966231"/>
                </a:lnTo>
                <a:lnTo>
                  <a:pt x="467683" y="4952257"/>
                </a:lnTo>
                <a:cubicBezTo>
                  <a:pt x="467683" y="4938672"/>
                  <a:pt x="458852" y="4930957"/>
                  <a:pt x="445655" y="4930957"/>
                </a:cubicBezTo>
                <a:close/>
                <a:moveTo>
                  <a:pt x="586848" y="4930228"/>
                </a:moveTo>
                <a:cubicBezTo>
                  <a:pt x="574253" y="4930202"/>
                  <a:pt x="564022" y="4940390"/>
                  <a:pt x="563995" y="4952984"/>
                </a:cubicBezTo>
                <a:cubicBezTo>
                  <a:pt x="563968" y="4965579"/>
                  <a:pt x="574156" y="4975810"/>
                  <a:pt x="586751" y="4975837"/>
                </a:cubicBezTo>
                <a:cubicBezTo>
                  <a:pt x="599345" y="4975864"/>
                  <a:pt x="609577" y="4965676"/>
                  <a:pt x="609603" y="4953081"/>
                </a:cubicBezTo>
                <a:cubicBezTo>
                  <a:pt x="609603" y="4953049"/>
                  <a:pt x="609603" y="4953017"/>
                  <a:pt x="609603" y="4952984"/>
                </a:cubicBezTo>
                <a:cubicBezTo>
                  <a:pt x="609874" y="4940688"/>
                  <a:pt x="600126" y="4930499"/>
                  <a:pt x="587829" y="4930228"/>
                </a:cubicBezTo>
                <a:cubicBezTo>
                  <a:pt x="587502" y="4930221"/>
                  <a:pt x="587175" y="4930221"/>
                  <a:pt x="586848" y="4930228"/>
                </a:cubicBezTo>
                <a:close/>
                <a:moveTo>
                  <a:pt x="500054" y="4930221"/>
                </a:moveTo>
                <a:cubicBezTo>
                  <a:pt x="499889" y="4930222"/>
                  <a:pt x="499724" y="4930224"/>
                  <a:pt x="499560" y="4930229"/>
                </a:cubicBezTo>
                <a:lnTo>
                  <a:pt x="499366" y="4930229"/>
                </a:lnTo>
                <a:cubicBezTo>
                  <a:pt x="487151" y="4929881"/>
                  <a:pt x="476967" y="4939500"/>
                  <a:pt x="476619" y="4951714"/>
                </a:cubicBezTo>
                <a:cubicBezTo>
                  <a:pt x="476613" y="4951895"/>
                  <a:pt x="476610" y="4952076"/>
                  <a:pt x="476610" y="4952257"/>
                </a:cubicBezTo>
                <a:cubicBezTo>
                  <a:pt x="476604" y="4964546"/>
                  <a:pt x="486355" y="4974620"/>
                  <a:pt x="498638" y="4975013"/>
                </a:cubicBezTo>
                <a:lnTo>
                  <a:pt x="517755" y="4975013"/>
                </a:lnTo>
                <a:lnTo>
                  <a:pt x="517755" y="4966231"/>
                </a:lnTo>
                <a:lnTo>
                  <a:pt x="487090" y="4966231"/>
                </a:lnTo>
                <a:lnTo>
                  <a:pt x="487090" y="4957400"/>
                </a:lnTo>
                <a:lnTo>
                  <a:pt x="522364" y="4957400"/>
                </a:lnTo>
                <a:lnTo>
                  <a:pt x="522364" y="4952257"/>
                </a:lnTo>
                <a:cubicBezTo>
                  <a:pt x="522289" y="4940011"/>
                  <a:pt x="512300" y="4930145"/>
                  <a:pt x="500054" y="4930221"/>
                </a:cubicBezTo>
                <a:close/>
                <a:moveTo>
                  <a:pt x="638045" y="4930220"/>
                </a:moveTo>
                <a:cubicBezTo>
                  <a:pt x="637864" y="4930221"/>
                  <a:pt x="637683" y="4930224"/>
                  <a:pt x="637502" y="4930229"/>
                </a:cubicBezTo>
                <a:cubicBezTo>
                  <a:pt x="625261" y="4929881"/>
                  <a:pt x="615055" y="4939521"/>
                  <a:pt x="614706" y="4951763"/>
                </a:cubicBezTo>
                <a:cubicBezTo>
                  <a:pt x="614702" y="4951927"/>
                  <a:pt x="614699" y="4952092"/>
                  <a:pt x="614698" y="4952257"/>
                </a:cubicBezTo>
                <a:cubicBezTo>
                  <a:pt x="614692" y="4964564"/>
                  <a:pt x="624473" y="4974646"/>
                  <a:pt x="636774" y="4975013"/>
                </a:cubicBezTo>
                <a:lnTo>
                  <a:pt x="655843" y="4975013"/>
                </a:lnTo>
                <a:lnTo>
                  <a:pt x="655843" y="4966231"/>
                </a:lnTo>
                <a:lnTo>
                  <a:pt x="624984" y="4966231"/>
                </a:lnTo>
                <a:lnTo>
                  <a:pt x="624984" y="4957400"/>
                </a:lnTo>
                <a:lnTo>
                  <a:pt x="660258" y="4957400"/>
                </a:lnTo>
                <a:lnTo>
                  <a:pt x="660258" y="4952257"/>
                </a:lnTo>
                <a:cubicBezTo>
                  <a:pt x="660209" y="4940038"/>
                  <a:pt x="650264" y="4930172"/>
                  <a:pt x="638045" y="4930220"/>
                </a:cubicBezTo>
                <a:close/>
                <a:moveTo>
                  <a:pt x="459046" y="4915139"/>
                </a:moveTo>
                <a:cubicBezTo>
                  <a:pt x="455590" y="4915112"/>
                  <a:pt x="452766" y="4917893"/>
                  <a:pt x="452739" y="4921350"/>
                </a:cubicBezTo>
                <a:cubicBezTo>
                  <a:pt x="452739" y="4921366"/>
                  <a:pt x="452739" y="4921382"/>
                  <a:pt x="452739" y="4921398"/>
                </a:cubicBezTo>
                <a:cubicBezTo>
                  <a:pt x="452739" y="4924836"/>
                  <a:pt x="455511" y="4927630"/>
                  <a:pt x="458949" y="4927657"/>
                </a:cubicBezTo>
                <a:cubicBezTo>
                  <a:pt x="462406" y="4927684"/>
                  <a:pt x="465230" y="4924903"/>
                  <a:pt x="465257" y="4921447"/>
                </a:cubicBezTo>
                <a:cubicBezTo>
                  <a:pt x="465283" y="4917990"/>
                  <a:pt x="462503" y="4915166"/>
                  <a:pt x="459046" y="4915139"/>
                </a:cubicBezTo>
                <a:close/>
                <a:moveTo>
                  <a:pt x="318127" y="4913726"/>
                </a:moveTo>
                <a:lnTo>
                  <a:pt x="318127" y="4925468"/>
                </a:lnTo>
                <a:lnTo>
                  <a:pt x="306337" y="4925468"/>
                </a:lnTo>
                <a:lnTo>
                  <a:pt x="306337" y="4937258"/>
                </a:lnTo>
                <a:lnTo>
                  <a:pt x="294595" y="4937258"/>
                </a:lnTo>
                <a:lnTo>
                  <a:pt x="294595" y="4949000"/>
                </a:lnTo>
                <a:lnTo>
                  <a:pt x="294595" y="4960742"/>
                </a:lnTo>
                <a:lnTo>
                  <a:pt x="306337" y="4960742"/>
                </a:lnTo>
                <a:lnTo>
                  <a:pt x="318127" y="4960742"/>
                </a:lnTo>
                <a:lnTo>
                  <a:pt x="318127" y="4949000"/>
                </a:lnTo>
                <a:lnTo>
                  <a:pt x="318127" y="4937258"/>
                </a:lnTo>
                <a:lnTo>
                  <a:pt x="329869" y="4937258"/>
                </a:lnTo>
                <a:lnTo>
                  <a:pt x="341611" y="4937258"/>
                </a:lnTo>
                <a:lnTo>
                  <a:pt x="341611" y="4925468"/>
                </a:lnTo>
                <a:lnTo>
                  <a:pt x="341611" y="4913726"/>
                </a:lnTo>
                <a:lnTo>
                  <a:pt x="329869" y="4913726"/>
                </a:lnTo>
                <a:close/>
                <a:moveTo>
                  <a:pt x="533912" y="4913441"/>
                </a:moveTo>
                <a:lnTo>
                  <a:pt x="533912" y="4931102"/>
                </a:lnTo>
                <a:lnTo>
                  <a:pt x="523626" y="4931102"/>
                </a:lnTo>
                <a:lnTo>
                  <a:pt x="523626" y="4939933"/>
                </a:lnTo>
                <a:lnTo>
                  <a:pt x="533912" y="4939933"/>
                </a:lnTo>
                <a:lnTo>
                  <a:pt x="533912" y="4953858"/>
                </a:lnTo>
                <a:cubicBezTo>
                  <a:pt x="533912" y="4967104"/>
                  <a:pt x="540511" y="4975207"/>
                  <a:pt x="555212" y="4975207"/>
                </a:cubicBezTo>
                <a:lnTo>
                  <a:pt x="561859" y="4975207"/>
                </a:lnTo>
                <a:lnTo>
                  <a:pt x="561859" y="4966376"/>
                </a:lnTo>
                <a:lnTo>
                  <a:pt x="542743" y="4966376"/>
                </a:lnTo>
                <a:lnTo>
                  <a:pt x="542743" y="4939787"/>
                </a:lnTo>
                <a:lnTo>
                  <a:pt x="557299" y="4939787"/>
                </a:lnTo>
                <a:lnTo>
                  <a:pt x="557299" y="4930957"/>
                </a:lnTo>
                <a:lnTo>
                  <a:pt x="542743" y="4930957"/>
                </a:lnTo>
                <a:lnTo>
                  <a:pt x="542743" y="4913441"/>
                </a:lnTo>
                <a:close/>
                <a:moveTo>
                  <a:pt x="416348" y="4913441"/>
                </a:moveTo>
                <a:lnTo>
                  <a:pt x="416348" y="4931102"/>
                </a:lnTo>
                <a:lnTo>
                  <a:pt x="406062" y="4931102"/>
                </a:lnTo>
                <a:lnTo>
                  <a:pt x="406062" y="4939933"/>
                </a:lnTo>
                <a:lnTo>
                  <a:pt x="416348" y="4939933"/>
                </a:lnTo>
                <a:lnTo>
                  <a:pt x="416348" y="4953130"/>
                </a:lnTo>
                <a:cubicBezTo>
                  <a:pt x="416348" y="4966376"/>
                  <a:pt x="422947" y="4975207"/>
                  <a:pt x="437648" y="4975207"/>
                </a:cubicBezTo>
                <a:lnTo>
                  <a:pt x="441336" y="4975207"/>
                </a:lnTo>
                <a:lnTo>
                  <a:pt x="441336" y="4966376"/>
                </a:lnTo>
                <a:lnTo>
                  <a:pt x="425179" y="4966376"/>
                </a:lnTo>
                <a:lnTo>
                  <a:pt x="425179" y="4939787"/>
                </a:lnTo>
                <a:lnTo>
                  <a:pt x="436920" y="4939787"/>
                </a:lnTo>
                <a:lnTo>
                  <a:pt x="436920" y="4930957"/>
                </a:lnTo>
                <a:lnTo>
                  <a:pt x="425179" y="4930957"/>
                </a:lnTo>
                <a:lnTo>
                  <a:pt x="425179" y="4913441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287338" y="735013"/>
            <a:ext cx="3273091" cy="17931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dd your quot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93DDC7-6347-4E7C-80D6-CA23706A068E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3829" y="231775"/>
            <a:ext cx="3276600" cy="365208"/>
          </a:xfrm>
        </p:spPr>
        <p:txBody>
          <a:bodyPr tIns="36000">
            <a:normAutofit/>
          </a:bodyPr>
          <a:lstStyle>
            <a:lvl1pPr marL="0" indent="0">
              <a:spcBef>
                <a:spcPts val="0"/>
              </a:spcBef>
              <a:buClr>
                <a:schemeClr val="accent6"/>
              </a:buClr>
              <a:buFont typeface="+mj-lt"/>
              <a:buNone/>
              <a:defRPr sz="1200">
                <a:solidFill>
                  <a:srgbClr val="E9EC6B"/>
                </a:solidFill>
              </a:defRPr>
            </a:lvl1pPr>
            <a:lvl2pPr marL="234950" indent="0">
              <a:buClr>
                <a:schemeClr val="accent6"/>
              </a:buClr>
              <a:buFont typeface="+mj-lt"/>
              <a:buNone/>
              <a:defRPr>
                <a:solidFill>
                  <a:schemeClr val="bg1"/>
                </a:solidFill>
              </a:defRPr>
            </a:lvl2pPr>
            <a:lvl3pPr marL="587375" indent="-174625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768350" indent="-188913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946150" indent="-177800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Add intro text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DC43ACE-919E-4F14-B57A-476B078BDADC}"/>
              </a:ext>
            </a:extLst>
          </p:cNvPr>
          <p:cNvSpPr>
            <a:spLocks noGrp="1"/>
          </p:cNvSpPr>
          <p:nvPr userDrawn="1"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8C85202-0B59-48F2-8674-991A71F862D0}"/>
              </a:ext>
            </a:extLst>
          </p:cNvPr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C77536-C884-4A81-AE68-002872FF9735}"/>
              </a:ext>
            </a:extLst>
          </p:cNvPr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2319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3" pos="4513">
          <p15:clr>
            <a:srgbClr val="FBAE40"/>
          </p15:clr>
        </p15:guide>
        <p15:guide id="4" pos="2245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1">
    <p:bg>
      <p:bgPr>
        <a:solidFill>
          <a:schemeClr val="accent2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3CBC1972-8065-4A53-B307-68AB4006EBA4}"/>
              </a:ext>
            </a:extLst>
          </p:cNvPr>
          <p:cNvSpPr/>
          <p:nvPr userDrawn="1"/>
        </p:nvSpPr>
        <p:spPr>
          <a:xfrm>
            <a:off x="4604362" y="0"/>
            <a:ext cx="4539638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1380D2C-E53A-487E-B484-96C822075E1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custGeom>
            <a:avLst/>
            <a:gdLst>
              <a:gd name="connsiteX0" fmla="*/ 137498 w 4572000"/>
              <a:gd name="connsiteY0" fmla="*/ 2070213 h 5143500"/>
              <a:gd name="connsiteX1" fmla="*/ 124631 w 4572000"/>
              <a:gd name="connsiteY1" fmla="*/ 2081770 h 5143500"/>
              <a:gd name="connsiteX2" fmla="*/ 124631 w 4572000"/>
              <a:gd name="connsiteY2" fmla="*/ 2081817 h 5143500"/>
              <a:gd name="connsiteX3" fmla="*/ 137158 w 4572000"/>
              <a:gd name="connsiteY3" fmla="*/ 2093986 h 5143500"/>
              <a:gd name="connsiteX4" fmla="*/ 149674 w 4572000"/>
              <a:gd name="connsiteY4" fmla="*/ 2082425 h 5143500"/>
              <a:gd name="connsiteX5" fmla="*/ 137498 w 4572000"/>
              <a:gd name="connsiteY5" fmla="*/ 2070213 h 5143500"/>
              <a:gd name="connsiteX6" fmla="*/ 137789 w 4572000"/>
              <a:gd name="connsiteY6" fmla="*/ 1765449 h 5143500"/>
              <a:gd name="connsiteX7" fmla="*/ 112056 w 4572000"/>
              <a:gd name="connsiteY7" fmla="*/ 1788657 h 5143500"/>
              <a:gd name="connsiteX8" fmla="*/ 112056 w 4572000"/>
              <a:gd name="connsiteY8" fmla="*/ 1788707 h 5143500"/>
              <a:gd name="connsiteX9" fmla="*/ 137157 w 4572000"/>
              <a:gd name="connsiteY9" fmla="*/ 1813090 h 5143500"/>
              <a:gd name="connsiteX10" fmla="*/ 162245 w 4572000"/>
              <a:gd name="connsiteY10" fmla="*/ 1789873 h 5143500"/>
              <a:gd name="connsiteX11" fmla="*/ 137789 w 4572000"/>
              <a:gd name="connsiteY11" fmla="*/ 1765449 h 5143500"/>
              <a:gd name="connsiteX12" fmla="*/ 137498 w 4572000"/>
              <a:gd name="connsiteY12" fmla="*/ 1484172 h 5143500"/>
              <a:gd name="connsiteX13" fmla="*/ 124631 w 4572000"/>
              <a:gd name="connsiteY13" fmla="*/ 1495729 h 5143500"/>
              <a:gd name="connsiteX14" fmla="*/ 124631 w 4572000"/>
              <a:gd name="connsiteY14" fmla="*/ 1495874 h 5143500"/>
              <a:gd name="connsiteX15" fmla="*/ 137157 w 4572000"/>
              <a:gd name="connsiteY15" fmla="*/ 1507945 h 5143500"/>
              <a:gd name="connsiteX16" fmla="*/ 149674 w 4572000"/>
              <a:gd name="connsiteY16" fmla="*/ 1496384 h 5143500"/>
              <a:gd name="connsiteX17" fmla="*/ 137498 w 4572000"/>
              <a:gd name="connsiteY17" fmla="*/ 1484172 h 5143500"/>
              <a:gd name="connsiteX18" fmla="*/ 137498 w 4572000"/>
              <a:gd name="connsiteY18" fmla="*/ 1191246 h 5143500"/>
              <a:gd name="connsiteX19" fmla="*/ 124631 w 4572000"/>
              <a:gd name="connsiteY19" fmla="*/ 1202803 h 5143500"/>
              <a:gd name="connsiteX20" fmla="*/ 124631 w 4572000"/>
              <a:gd name="connsiteY20" fmla="*/ 1202948 h 5143500"/>
              <a:gd name="connsiteX21" fmla="*/ 137157 w 4572000"/>
              <a:gd name="connsiteY21" fmla="*/ 1215019 h 5143500"/>
              <a:gd name="connsiteX22" fmla="*/ 149674 w 4572000"/>
              <a:gd name="connsiteY22" fmla="*/ 1203458 h 5143500"/>
              <a:gd name="connsiteX23" fmla="*/ 137498 w 4572000"/>
              <a:gd name="connsiteY23" fmla="*/ 1191246 h 5143500"/>
              <a:gd name="connsiteX24" fmla="*/ 137449 w 4572000"/>
              <a:gd name="connsiteY24" fmla="*/ 898320 h 5143500"/>
              <a:gd name="connsiteX25" fmla="*/ 124631 w 4572000"/>
              <a:gd name="connsiteY25" fmla="*/ 909924 h 5143500"/>
              <a:gd name="connsiteX26" fmla="*/ 137158 w 4572000"/>
              <a:gd name="connsiteY26" fmla="*/ 922093 h 5143500"/>
              <a:gd name="connsiteX27" fmla="*/ 149679 w 4572000"/>
              <a:gd name="connsiteY27" fmla="*/ 910486 h 5143500"/>
              <a:gd name="connsiteX28" fmla="*/ 137449 w 4572000"/>
              <a:gd name="connsiteY28" fmla="*/ 898320 h 5143500"/>
              <a:gd name="connsiteX29" fmla="*/ 137744 w 4572000"/>
              <a:gd name="connsiteY29" fmla="*/ 593738 h 5143500"/>
              <a:gd name="connsiteX30" fmla="*/ 112056 w 4572000"/>
              <a:gd name="connsiteY30" fmla="*/ 616998 h 5143500"/>
              <a:gd name="connsiteX31" fmla="*/ 137158 w 4572000"/>
              <a:gd name="connsiteY31" fmla="*/ 641384 h 5143500"/>
              <a:gd name="connsiteX32" fmla="*/ 162244 w 4572000"/>
              <a:gd name="connsiteY32" fmla="*/ 618121 h 5143500"/>
              <a:gd name="connsiteX33" fmla="*/ 137744 w 4572000"/>
              <a:gd name="connsiteY33" fmla="*/ 593738 h 5143500"/>
              <a:gd name="connsiteX34" fmla="*/ 137449 w 4572000"/>
              <a:gd name="connsiteY34" fmla="*/ 312467 h 5143500"/>
              <a:gd name="connsiteX35" fmla="*/ 124631 w 4572000"/>
              <a:gd name="connsiteY35" fmla="*/ 324071 h 5143500"/>
              <a:gd name="connsiteX36" fmla="*/ 137158 w 4572000"/>
              <a:gd name="connsiteY36" fmla="*/ 336240 h 5143500"/>
              <a:gd name="connsiteX37" fmla="*/ 149679 w 4572000"/>
              <a:gd name="connsiteY37" fmla="*/ 324633 h 5143500"/>
              <a:gd name="connsiteX38" fmla="*/ 137449 w 4572000"/>
              <a:gd name="connsiteY38" fmla="*/ 312467 h 5143500"/>
              <a:gd name="connsiteX39" fmla="*/ 0 w 4572000"/>
              <a:gd name="connsiteY39" fmla="*/ 0 h 5143500"/>
              <a:gd name="connsiteX40" fmla="*/ 4572000 w 4572000"/>
              <a:gd name="connsiteY40" fmla="*/ 0 h 5143500"/>
              <a:gd name="connsiteX41" fmla="*/ 4572000 w 4572000"/>
              <a:gd name="connsiteY41" fmla="*/ 5143500 h 5143500"/>
              <a:gd name="connsiteX42" fmla="*/ 0 w 4572000"/>
              <a:gd name="connsiteY4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4572000" h="5143500">
                <a:moveTo>
                  <a:pt x="137498" y="2070213"/>
                </a:moveTo>
                <a:cubicBezTo>
                  <a:pt x="130585" y="2070030"/>
                  <a:pt x="124824" y="2075207"/>
                  <a:pt x="124631" y="2081770"/>
                </a:cubicBezTo>
                <a:cubicBezTo>
                  <a:pt x="124631" y="2081784"/>
                  <a:pt x="124631" y="2081802"/>
                  <a:pt x="124631" y="2081817"/>
                </a:cubicBezTo>
                <a:cubicBezTo>
                  <a:pt x="124547" y="2088463"/>
                  <a:pt x="130161" y="2093912"/>
                  <a:pt x="137158" y="2093986"/>
                </a:cubicBezTo>
                <a:cubicBezTo>
                  <a:pt x="143939" y="2093982"/>
                  <a:pt x="149486" y="2088862"/>
                  <a:pt x="149674" y="2082425"/>
                </a:cubicBezTo>
                <a:cubicBezTo>
                  <a:pt x="149866" y="2075863"/>
                  <a:pt x="144413" y="2070395"/>
                  <a:pt x="137498" y="2070213"/>
                </a:cubicBezTo>
                <a:close/>
                <a:moveTo>
                  <a:pt x="137789" y="1765449"/>
                </a:moveTo>
                <a:cubicBezTo>
                  <a:pt x="123931" y="1765111"/>
                  <a:pt x="112411" y="1775503"/>
                  <a:pt x="112056" y="1788657"/>
                </a:cubicBezTo>
                <a:cubicBezTo>
                  <a:pt x="112056" y="1788675"/>
                  <a:pt x="112056" y="1788689"/>
                  <a:pt x="112056" y="1788707"/>
                </a:cubicBezTo>
                <a:cubicBezTo>
                  <a:pt x="111893" y="1802020"/>
                  <a:pt x="123132" y="1812936"/>
                  <a:pt x="137157" y="1813090"/>
                </a:cubicBezTo>
                <a:cubicBezTo>
                  <a:pt x="150769" y="1813086"/>
                  <a:pt x="161893" y="1802788"/>
                  <a:pt x="162245" y="1789873"/>
                </a:cubicBezTo>
                <a:cubicBezTo>
                  <a:pt x="162595" y="1776720"/>
                  <a:pt x="151651" y="1765781"/>
                  <a:pt x="137789" y="1765449"/>
                </a:cubicBezTo>
                <a:close/>
                <a:moveTo>
                  <a:pt x="137498" y="1484172"/>
                </a:moveTo>
                <a:cubicBezTo>
                  <a:pt x="130584" y="1483989"/>
                  <a:pt x="124823" y="1489166"/>
                  <a:pt x="124631" y="1495729"/>
                </a:cubicBezTo>
                <a:cubicBezTo>
                  <a:pt x="124631" y="1495776"/>
                  <a:pt x="124631" y="1495823"/>
                  <a:pt x="124631" y="1495874"/>
                </a:cubicBezTo>
                <a:cubicBezTo>
                  <a:pt x="124577" y="1502488"/>
                  <a:pt x="130184" y="1507895"/>
                  <a:pt x="137157" y="1507945"/>
                </a:cubicBezTo>
                <a:cubicBezTo>
                  <a:pt x="143938" y="1507941"/>
                  <a:pt x="149486" y="1502821"/>
                  <a:pt x="149674" y="1496384"/>
                </a:cubicBezTo>
                <a:cubicBezTo>
                  <a:pt x="149866" y="1489822"/>
                  <a:pt x="144412" y="1484354"/>
                  <a:pt x="137498" y="1484172"/>
                </a:cubicBezTo>
                <a:close/>
                <a:moveTo>
                  <a:pt x="137498" y="1191246"/>
                </a:moveTo>
                <a:cubicBezTo>
                  <a:pt x="130584" y="1191064"/>
                  <a:pt x="124823" y="1196240"/>
                  <a:pt x="124631" y="1202803"/>
                </a:cubicBezTo>
                <a:cubicBezTo>
                  <a:pt x="124631" y="1202850"/>
                  <a:pt x="124631" y="1202897"/>
                  <a:pt x="124631" y="1202948"/>
                </a:cubicBezTo>
                <a:cubicBezTo>
                  <a:pt x="124577" y="1209562"/>
                  <a:pt x="130184" y="1214969"/>
                  <a:pt x="137157" y="1215019"/>
                </a:cubicBezTo>
                <a:cubicBezTo>
                  <a:pt x="143938" y="1215015"/>
                  <a:pt x="149486" y="1209895"/>
                  <a:pt x="149674" y="1203458"/>
                </a:cubicBezTo>
                <a:cubicBezTo>
                  <a:pt x="149866" y="1196896"/>
                  <a:pt x="144412" y="1191428"/>
                  <a:pt x="137498" y="1191246"/>
                </a:cubicBezTo>
                <a:close/>
                <a:moveTo>
                  <a:pt x="137449" y="898320"/>
                </a:moveTo>
                <a:cubicBezTo>
                  <a:pt x="130535" y="898165"/>
                  <a:pt x="124795" y="903361"/>
                  <a:pt x="124631" y="909924"/>
                </a:cubicBezTo>
                <a:cubicBezTo>
                  <a:pt x="124552" y="916570"/>
                  <a:pt x="130161" y="922019"/>
                  <a:pt x="137158" y="922093"/>
                </a:cubicBezTo>
                <a:cubicBezTo>
                  <a:pt x="143959" y="922093"/>
                  <a:pt x="149516" y="916941"/>
                  <a:pt x="149679" y="910486"/>
                </a:cubicBezTo>
                <a:cubicBezTo>
                  <a:pt x="149841" y="903923"/>
                  <a:pt x="144367" y="898474"/>
                  <a:pt x="137449" y="898320"/>
                </a:cubicBezTo>
                <a:close/>
                <a:moveTo>
                  <a:pt x="137744" y="593738"/>
                </a:moveTo>
                <a:cubicBezTo>
                  <a:pt x="123881" y="593429"/>
                  <a:pt x="112381" y="603844"/>
                  <a:pt x="112056" y="616998"/>
                </a:cubicBezTo>
                <a:cubicBezTo>
                  <a:pt x="111918" y="630301"/>
                  <a:pt x="123142" y="641207"/>
                  <a:pt x="137158" y="641384"/>
                </a:cubicBezTo>
                <a:cubicBezTo>
                  <a:pt x="150789" y="641381"/>
                  <a:pt x="161924" y="631054"/>
                  <a:pt x="162244" y="618121"/>
                </a:cubicBezTo>
                <a:cubicBezTo>
                  <a:pt x="162570" y="604968"/>
                  <a:pt x="151602" y="594052"/>
                  <a:pt x="137744" y="593738"/>
                </a:cubicBezTo>
                <a:close/>
                <a:moveTo>
                  <a:pt x="137449" y="312467"/>
                </a:moveTo>
                <a:cubicBezTo>
                  <a:pt x="130535" y="312312"/>
                  <a:pt x="124795" y="317508"/>
                  <a:pt x="124631" y="324071"/>
                </a:cubicBezTo>
                <a:cubicBezTo>
                  <a:pt x="124552" y="330717"/>
                  <a:pt x="130161" y="336166"/>
                  <a:pt x="137158" y="336240"/>
                </a:cubicBezTo>
                <a:cubicBezTo>
                  <a:pt x="143959" y="336240"/>
                  <a:pt x="149516" y="331088"/>
                  <a:pt x="149679" y="324633"/>
                </a:cubicBezTo>
                <a:cubicBezTo>
                  <a:pt x="149841" y="318071"/>
                  <a:pt x="144367" y="312621"/>
                  <a:pt x="137449" y="312467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to add picture</a:t>
            </a:r>
            <a:endParaRPr lang="en-GB" dirty="0"/>
          </a:p>
        </p:txBody>
      </p:sp>
      <p:sp>
        <p:nvSpPr>
          <p:cNvPr id="37" name="Dots">
            <a:extLst>
              <a:ext uri="{FF2B5EF4-FFF2-40B4-BE49-F238E27FC236}">
                <a16:creationId xmlns:a16="http://schemas.microsoft.com/office/drawing/2014/main" id="{EE9EFEE1-081D-43C2-B79D-9A03DAD019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2916303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E1AED2E5-EACC-4379-8B86-BDCC33C41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71125" y="4482250"/>
            <a:ext cx="1535077" cy="256610"/>
            <a:chOff x="301852" y="4913727"/>
            <a:chExt cx="487916" cy="81562"/>
          </a:xfrm>
          <a:solidFill>
            <a:schemeClr val="accent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1" y="231776"/>
            <a:ext cx="2824965" cy="2583344"/>
          </a:xfrm>
        </p:spPr>
        <p:txBody>
          <a:bodyPr anchor="b"/>
          <a:lstStyle>
            <a:lvl1pPr algn="l"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Add text for example Thank you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2B055659-967E-4FB4-B761-219916CE0D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890836"/>
            <a:ext cx="2705129" cy="365125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808080"/>
                </a:solidFill>
              </a:defRPr>
            </a:lvl1pPr>
            <a:lvl2pPr marL="179388" indent="0">
              <a:buNone/>
              <a:defRPr/>
            </a:lvl2pPr>
            <a:lvl3pPr marL="360362" indent="0">
              <a:buNone/>
              <a:defRPr/>
            </a:lvl3pPr>
            <a:lvl4pPr marL="539750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GB"/>
              <a:t>Click to add date and/or presenters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0360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1629A0C0-C4FA-4BD5-B2B6-6748A116A518}"/>
              </a:ext>
            </a:extLst>
          </p:cNvPr>
          <p:cNvSpPr/>
          <p:nvPr userDrawn="1"/>
        </p:nvSpPr>
        <p:spPr>
          <a:xfrm>
            <a:off x="4604362" y="0"/>
            <a:ext cx="4539638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1380D2C-E53A-487E-B484-96C822075E1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custGeom>
            <a:avLst/>
            <a:gdLst>
              <a:gd name="connsiteX0" fmla="*/ 137498 w 4572000"/>
              <a:gd name="connsiteY0" fmla="*/ 2070213 h 5143500"/>
              <a:gd name="connsiteX1" fmla="*/ 124631 w 4572000"/>
              <a:gd name="connsiteY1" fmla="*/ 2081770 h 5143500"/>
              <a:gd name="connsiteX2" fmla="*/ 124631 w 4572000"/>
              <a:gd name="connsiteY2" fmla="*/ 2081817 h 5143500"/>
              <a:gd name="connsiteX3" fmla="*/ 137158 w 4572000"/>
              <a:gd name="connsiteY3" fmla="*/ 2093986 h 5143500"/>
              <a:gd name="connsiteX4" fmla="*/ 149674 w 4572000"/>
              <a:gd name="connsiteY4" fmla="*/ 2082425 h 5143500"/>
              <a:gd name="connsiteX5" fmla="*/ 137498 w 4572000"/>
              <a:gd name="connsiteY5" fmla="*/ 2070213 h 5143500"/>
              <a:gd name="connsiteX6" fmla="*/ 137789 w 4572000"/>
              <a:gd name="connsiteY6" fmla="*/ 1765449 h 5143500"/>
              <a:gd name="connsiteX7" fmla="*/ 112056 w 4572000"/>
              <a:gd name="connsiteY7" fmla="*/ 1788657 h 5143500"/>
              <a:gd name="connsiteX8" fmla="*/ 112056 w 4572000"/>
              <a:gd name="connsiteY8" fmla="*/ 1788707 h 5143500"/>
              <a:gd name="connsiteX9" fmla="*/ 137157 w 4572000"/>
              <a:gd name="connsiteY9" fmla="*/ 1813090 h 5143500"/>
              <a:gd name="connsiteX10" fmla="*/ 162245 w 4572000"/>
              <a:gd name="connsiteY10" fmla="*/ 1789873 h 5143500"/>
              <a:gd name="connsiteX11" fmla="*/ 137789 w 4572000"/>
              <a:gd name="connsiteY11" fmla="*/ 1765449 h 5143500"/>
              <a:gd name="connsiteX12" fmla="*/ 137498 w 4572000"/>
              <a:gd name="connsiteY12" fmla="*/ 1484172 h 5143500"/>
              <a:gd name="connsiteX13" fmla="*/ 124631 w 4572000"/>
              <a:gd name="connsiteY13" fmla="*/ 1495729 h 5143500"/>
              <a:gd name="connsiteX14" fmla="*/ 124631 w 4572000"/>
              <a:gd name="connsiteY14" fmla="*/ 1495874 h 5143500"/>
              <a:gd name="connsiteX15" fmla="*/ 137157 w 4572000"/>
              <a:gd name="connsiteY15" fmla="*/ 1507945 h 5143500"/>
              <a:gd name="connsiteX16" fmla="*/ 149674 w 4572000"/>
              <a:gd name="connsiteY16" fmla="*/ 1496384 h 5143500"/>
              <a:gd name="connsiteX17" fmla="*/ 137498 w 4572000"/>
              <a:gd name="connsiteY17" fmla="*/ 1484172 h 5143500"/>
              <a:gd name="connsiteX18" fmla="*/ 137498 w 4572000"/>
              <a:gd name="connsiteY18" fmla="*/ 1191246 h 5143500"/>
              <a:gd name="connsiteX19" fmla="*/ 124631 w 4572000"/>
              <a:gd name="connsiteY19" fmla="*/ 1202803 h 5143500"/>
              <a:gd name="connsiteX20" fmla="*/ 124631 w 4572000"/>
              <a:gd name="connsiteY20" fmla="*/ 1202948 h 5143500"/>
              <a:gd name="connsiteX21" fmla="*/ 137157 w 4572000"/>
              <a:gd name="connsiteY21" fmla="*/ 1215019 h 5143500"/>
              <a:gd name="connsiteX22" fmla="*/ 149674 w 4572000"/>
              <a:gd name="connsiteY22" fmla="*/ 1203458 h 5143500"/>
              <a:gd name="connsiteX23" fmla="*/ 137498 w 4572000"/>
              <a:gd name="connsiteY23" fmla="*/ 1191246 h 5143500"/>
              <a:gd name="connsiteX24" fmla="*/ 137449 w 4572000"/>
              <a:gd name="connsiteY24" fmla="*/ 898320 h 5143500"/>
              <a:gd name="connsiteX25" fmla="*/ 124631 w 4572000"/>
              <a:gd name="connsiteY25" fmla="*/ 909924 h 5143500"/>
              <a:gd name="connsiteX26" fmla="*/ 137158 w 4572000"/>
              <a:gd name="connsiteY26" fmla="*/ 922093 h 5143500"/>
              <a:gd name="connsiteX27" fmla="*/ 149679 w 4572000"/>
              <a:gd name="connsiteY27" fmla="*/ 910486 h 5143500"/>
              <a:gd name="connsiteX28" fmla="*/ 137449 w 4572000"/>
              <a:gd name="connsiteY28" fmla="*/ 898320 h 5143500"/>
              <a:gd name="connsiteX29" fmla="*/ 137744 w 4572000"/>
              <a:gd name="connsiteY29" fmla="*/ 593738 h 5143500"/>
              <a:gd name="connsiteX30" fmla="*/ 112056 w 4572000"/>
              <a:gd name="connsiteY30" fmla="*/ 616998 h 5143500"/>
              <a:gd name="connsiteX31" fmla="*/ 137158 w 4572000"/>
              <a:gd name="connsiteY31" fmla="*/ 641384 h 5143500"/>
              <a:gd name="connsiteX32" fmla="*/ 162244 w 4572000"/>
              <a:gd name="connsiteY32" fmla="*/ 618121 h 5143500"/>
              <a:gd name="connsiteX33" fmla="*/ 137744 w 4572000"/>
              <a:gd name="connsiteY33" fmla="*/ 593738 h 5143500"/>
              <a:gd name="connsiteX34" fmla="*/ 137449 w 4572000"/>
              <a:gd name="connsiteY34" fmla="*/ 312467 h 5143500"/>
              <a:gd name="connsiteX35" fmla="*/ 124631 w 4572000"/>
              <a:gd name="connsiteY35" fmla="*/ 324071 h 5143500"/>
              <a:gd name="connsiteX36" fmla="*/ 137158 w 4572000"/>
              <a:gd name="connsiteY36" fmla="*/ 336240 h 5143500"/>
              <a:gd name="connsiteX37" fmla="*/ 149679 w 4572000"/>
              <a:gd name="connsiteY37" fmla="*/ 324633 h 5143500"/>
              <a:gd name="connsiteX38" fmla="*/ 137449 w 4572000"/>
              <a:gd name="connsiteY38" fmla="*/ 312467 h 5143500"/>
              <a:gd name="connsiteX39" fmla="*/ 0 w 4572000"/>
              <a:gd name="connsiteY39" fmla="*/ 0 h 5143500"/>
              <a:gd name="connsiteX40" fmla="*/ 4572000 w 4572000"/>
              <a:gd name="connsiteY40" fmla="*/ 0 h 5143500"/>
              <a:gd name="connsiteX41" fmla="*/ 4572000 w 4572000"/>
              <a:gd name="connsiteY41" fmla="*/ 5143500 h 5143500"/>
              <a:gd name="connsiteX42" fmla="*/ 0 w 4572000"/>
              <a:gd name="connsiteY4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4572000" h="5143500">
                <a:moveTo>
                  <a:pt x="137498" y="2070213"/>
                </a:moveTo>
                <a:cubicBezTo>
                  <a:pt x="130585" y="2070030"/>
                  <a:pt x="124824" y="2075207"/>
                  <a:pt x="124631" y="2081770"/>
                </a:cubicBezTo>
                <a:cubicBezTo>
                  <a:pt x="124631" y="2081784"/>
                  <a:pt x="124631" y="2081802"/>
                  <a:pt x="124631" y="2081817"/>
                </a:cubicBezTo>
                <a:cubicBezTo>
                  <a:pt x="124547" y="2088463"/>
                  <a:pt x="130161" y="2093912"/>
                  <a:pt x="137158" y="2093986"/>
                </a:cubicBezTo>
                <a:cubicBezTo>
                  <a:pt x="143939" y="2093982"/>
                  <a:pt x="149486" y="2088862"/>
                  <a:pt x="149674" y="2082425"/>
                </a:cubicBezTo>
                <a:cubicBezTo>
                  <a:pt x="149866" y="2075863"/>
                  <a:pt x="144413" y="2070395"/>
                  <a:pt x="137498" y="2070213"/>
                </a:cubicBezTo>
                <a:close/>
                <a:moveTo>
                  <a:pt x="137789" y="1765449"/>
                </a:moveTo>
                <a:cubicBezTo>
                  <a:pt x="123931" y="1765111"/>
                  <a:pt x="112411" y="1775503"/>
                  <a:pt x="112056" y="1788657"/>
                </a:cubicBezTo>
                <a:cubicBezTo>
                  <a:pt x="112056" y="1788675"/>
                  <a:pt x="112056" y="1788689"/>
                  <a:pt x="112056" y="1788707"/>
                </a:cubicBezTo>
                <a:cubicBezTo>
                  <a:pt x="111893" y="1802020"/>
                  <a:pt x="123132" y="1812936"/>
                  <a:pt x="137157" y="1813090"/>
                </a:cubicBezTo>
                <a:cubicBezTo>
                  <a:pt x="150769" y="1813086"/>
                  <a:pt x="161893" y="1802788"/>
                  <a:pt x="162245" y="1789873"/>
                </a:cubicBezTo>
                <a:cubicBezTo>
                  <a:pt x="162595" y="1776720"/>
                  <a:pt x="151651" y="1765781"/>
                  <a:pt x="137789" y="1765449"/>
                </a:cubicBezTo>
                <a:close/>
                <a:moveTo>
                  <a:pt x="137498" y="1484172"/>
                </a:moveTo>
                <a:cubicBezTo>
                  <a:pt x="130584" y="1483989"/>
                  <a:pt x="124823" y="1489166"/>
                  <a:pt x="124631" y="1495729"/>
                </a:cubicBezTo>
                <a:cubicBezTo>
                  <a:pt x="124631" y="1495776"/>
                  <a:pt x="124631" y="1495823"/>
                  <a:pt x="124631" y="1495874"/>
                </a:cubicBezTo>
                <a:cubicBezTo>
                  <a:pt x="124577" y="1502488"/>
                  <a:pt x="130184" y="1507895"/>
                  <a:pt x="137157" y="1507945"/>
                </a:cubicBezTo>
                <a:cubicBezTo>
                  <a:pt x="143938" y="1507941"/>
                  <a:pt x="149486" y="1502821"/>
                  <a:pt x="149674" y="1496384"/>
                </a:cubicBezTo>
                <a:cubicBezTo>
                  <a:pt x="149866" y="1489822"/>
                  <a:pt x="144412" y="1484354"/>
                  <a:pt x="137498" y="1484172"/>
                </a:cubicBezTo>
                <a:close/>
                <a:moveTo>
                  <a:pt x="137498" y="1191246"/>
                </a:moveTo>
                <a:cubicBezTo>
                  <a:pt x="130584" y="1191064"/>
                  <a:pt x="124823" y="1196240"/>
                  <a:pt x="124631" y="1202803"/>
                </a:cubicBezTo>
                <a:cubicBezTo>
                  <a:pt x="124631" y="1202850"/>
                  <a:pt x="124631" y="1202897"/>
                  <a:pt x="124631" y="1202948"/>
                </a:cubicBezTo>
                <a:cubicBezTo>
                  <a:pt x="124577" y="1209562"/>
                  <a:pt x="130184" y="1214969"/>
                  <a:pt x="137157" y="1215019"/>
                </a:cubicBezTo>
                <a:cubicBezTo>
                  <a:pt x="143938" y="1215015"/>
                  <a:pt x="149486" y="1209895"/>
                  <a:pt x="149674" y="1203458"/>
                </a:cubicBezTo>
                <a:cubicBezTo>
                  <a:pt x="149866" y="1196896"/>
                  <a:pt x="144412" y="1191428"/>
                  <a:pt x="137498" y="1191246"/>
                </a:cubicBezTo>
                <a:close/>
                <a:moveTo>
                  <a:pt x="137449" y="898320"/>
                </a:moveTo>
                <a:cubicBezTo>
                  <a:pt x="130535" y="898165"/>
                  <a:pt x="124795" y="903361"/>
                  <a:pt x="124631" y="909924"/>
                </a:cubicBezTo>
                <a:cubicBezTo>
                  <a:pt x="124552" y="916570"/>
                  <a:pt x="130161" y="922019"/>
                  <a:pt x="137158" y="922093"/>
                </a:cubicBezTo>
                <a:cubicBezTo>
                  <a:pt x="143959" y="922093"/>
                  <a:pt x="149516" y="916941"/>
                  <a:pt x="149679" y="910486"/>
                </a:cubicBezTo>
                <a:cubicBezTo>
                  <a:pt x="149841" y="903923"/>
                  <a:pt x="144367" y="898474"/>
                  <a:pt x="137449" y="898320"/>
                </a:cubicBezTo>
                <a:close/>
                <a:moveTo>
                  <a:pt x="137744" y="593738"/>
                </a:moveTo>
                <a:cubicBezTo>
                  <a:pt x="123881" y="593429"/>
                  <a:pt x="112381" y="603844"/>
                  <a:pt x="112056" y="616998"/>
                </a:cubicBezTo>
                <a:cubicBezTo>
                  <a:pt x="111918" y="630301"/>
                  <a:pt x="123142" y="641207"/>
                  <a:pt x="137158" y="641384"/>
                </a:cubicBezTo>
                <a:cubicBezTo>
                  <a:pt x="150789" y="641381"/>
                  <a:pt x="161924" y="631054"/>
                  <a:pt x="162244" y="618121"/>
                </a:cubicBezTo>
                <a:cubicBezTo>
                  <a:pt x="162570" y="604968"/>
                  <a:pt x="151602" y="594052"/>
                  <a:pt x="137744" y="593738"/>
                </a:cubicBezTo>
                <a:close/>
                <a:moveTo>
                  <a:pt x="137449" y="312467"/>
                </a:moveTo>
                <a:cubicBezTo>
                  <a:pt x="130535" y="312312"/>
                  <a:pt x="124795" y="317508"/>
                  <a:pt x="124631" y="324071"/>
                </a:cubicBezTo>
                <a:cubicBezTo>
                  <a:pt x="124552" y="330717"/>
                  <a:pt x="130161" y="336166"/>
                  <a:pt x="137158" y="336240"/>
                </a:cubicBezTo>
                <a:cubicBezTo>
                  <a:pt x="143959" y="336240"/>
                  <a:pt x="149516" y="331088"/>
                  <a:pt x="149679" y="324633"/>
                </a:cubicBezTo>
                <a:cubicBezTo>
                  <a:pt x="149841" y="318071"/>
                  <a:pt x="144367" y="312621"/>
                  <a:pt x="137449" y="312467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to add picture</a:t>
            </a:r>
            <a:endParaRPr lang="en-GB" dirty="0"/>
          </a:p>
        </p:txBody>
      </p:sp>
      <p:sp>
        <p:nvSpPr>
          <p:cNvPr id="37" name="Dots">
            <a:extLst>
              <a:ext uri="{FF2B5EF4-FFF2-40B4-BE49-F238E27FC236}">
                <a16:creationId xmlns:a16="http://schemas.microsoft.com/office/drawing/2014/main" id="{EE9EFEE1-081D-43C2-B79D-9A03DAD019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2916303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tx2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E1AED2E5-EACC-4379-8B86-BDCC33C41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71125" y="4482250"/>
            <a:ext cx="1535077" cy="256610"/>
            <a:chOff x="301852" y="4913727"/>
            <a:chExt cx="487916" cy="81562"/>
          </a:xfrm>
          <a:solidFill>
            <a:schemeClr val="bg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1" y="231776"/>
            <a:ext cx="2824965" cy="2583344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text for example Thank you</a:t>
            </a:r>
            <a:endParaRPr lang="en-GB" dirty="0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2B055659-967E-4FB4-B761-219916CE0D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890836"/>
            <a:ext cx="2705129" cy="365125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DEB59F"/>
                </a:solidFill>
              </a:defRPr>
            </a:lvl1pPr>
            <a:lvl2pPr marL="179388" indent="0">
              <a:buNone/>
              <a:defRPr/>
            </a:lvl2pPr>
            <a:lvl3pPr marL="360362" indent="0">
              <a:buNone/>
              <a:defRPr/>
            </a:lvl3pPr>
            <a:lvl4pPr marL="539750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GB"/>
              <a:t>Click to add date and/or presenters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3155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3">
    <p:bg>
      <p:bgPr>
        <a:solidFill>
          <a:schemeClr val="accent2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aphic 19">
            <a:extLst>
              <a:ext uri="{FF2B5EF4-FFF2-40B4-BE49-F238E27FC236}">
                <a16:creationId xmlns:a16="http://schemas.microsoft.com/office/drawing/2014/main" id="{E1AED2E5-EACC-4379-8B86-BDCC33C41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71125" y="4482250"/>
            <a:ext cx="1535077" cy="256610"/>
            <a:chOff x="301852" y="4913727"/>
            <a:chExt cx="487916" cy="81562"/>
          </a:xfrm>
          <a:solidFill>
            <a:schemeClr val="accent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1" y="231776"/>
            <a:ext cx="2824965" cy="2583344"/>
          </a:xfrm>
        </p:spPr>
        <p:txBody>
          <a:bodyPr anchor="b"/>
          <a:lstStyle>
            <a:lvl1pPr algn="l"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Add text for example Thank you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2B055659-967E-4FB4-B761-219916CE0D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890836"/>
            <a:ext cx="2705129" cy="365125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808080"/>
                </a:solidFill>
              </a:defRPr>
            </a:lvl1pPr>
            <a:lvl2pPr marL="179388" indent="0">
              <a:buNone/>
              <a:defRPr/>
            </a:lvl2pPr>
            <a:lvl3pPr marL="360362" indent="0">
              <a:buNone/>
              <a:defRPr/>
            </a:lvl3pPr>
            <a:lvl4pPr marL="539750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GB" dirty="0"/>
              <a:t>Click to add date and/or presenters name</a:t>
            </a:r>
          </a:p>
        </p:txBody>
      </p:sp>
      <p:sp>
        <p:nvSpPr>
          <p:cNvPr id="35" name="Dots">
            <a:extLst>
              <a:ext uri="{FF2B5EF4-FFF2-40B4-BE49-F238E27FC236}">
                <a16:creationId xmlns:a16="http://schemas.microsoft.com/office/drawing/2014/main" id="{4C816F69-5068-4908-9804-E11DD367E8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1945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aphic 19">
            <a:extLst>
              <a:ext uri="{FF2B5EF4-FFF2-40B4-BE49-F238E27FC236}">
                <a16:creationId xmlns:a16="http://schemas.microsoft.com/office/drawing/2014/main" id="{E1AED2E5-EACC-4379-8B86-BDCC33C41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71125" y="4482250"/>
            <a:ext cx="1535077" cy="256610"/>
            <a:chOff x="301852" y="4913727"/>
            <a:chExt cx="487916" cy="81562"/>
          </a:xfrm>
          <a:solidFill>
            <a:schemeClr val="bg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1" y="231776"/>
            <a:ext cx="2824965" cy="2583344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GB"/>
              <a:t>Add text for example Thank you</a:t>
            </a:r>
            <a:endParaRPr lang="en-GB" dirty="0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2B055659-967E-4FB4-B761-219916CE0D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890836"/>
            <a:ext cx="2705129" cy="365125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DEB59F"/>
                </a:solidFill>
              </a:defRPr>
            </a:lvl1pPr>
            <a:lvl2pPr marL="179388" indent="0">
              <a:buNone/>
              <a:defRPr/>
            </a:lvl2pPr>
            <a:lvl3pPr marL="360362" indent="0">
              <a:buNone/>
              <a:defRPr/>
            </a:lvl3pPr>
            <a:lvl4pPr marL="539750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GB"/>
              <a:t>Click to add date and/or presenters name</a:t>
            </a:r>
            <a:endParaRPr lang="en-GB" dirty="0"/>
          </a:p>
        </p:txBody>
      </p:sp>
      <p:sp>
        <p:nvSpPr>
          <p:cNvPr id="35" name="Dots">
            <a:extLst>
              <a:ext uri="{FF2B5EF4-FFF2-40B4-BE49-F238E27FC236}">
                <a16:creationId xmlns:a16="http://schemas.microsoft.com/office/drawing/2014/main" id="{D001CC6F-BFCA-4280-BE24-68BE1C518787}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tx2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1476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461063" y="1120388"/>
            <a:ext cx="2079000" cy="3681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PICTURES</a:t>
            </a:r>
            <a:br>
              <a:rPr lang="en-GB" sz="675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675" b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675" b="1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675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button to view Templafy pane on right side of the screen, if it is not already there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elect picture placeholder by clicking on the frame (at the edge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675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675" b="0" i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675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in the Templafy pane</a:t>
            </a:r>
            <a:br>
              <a:rPr lang="en-GB" altLang="da-DK" sz="675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675" b="0" baseline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sert picture from other location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to browse for picture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  <a:b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675" b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sz="1200" b="1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  <a:b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en-GB" sz="675" b="0" i="0" dirty="0">
                <a:solidFill>
                  <a:srgbClr val="000000"/>
                </a:solidFill>
                <a:effectLst/>
                <a:latin typeface="+mn-lt"/>
              </a:rPr>
              <a:t>⌘ </a:t>
            </a: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+ option + ctrl + G</a:t>
            </a:r>
          </a:p>
        </p:txBody>
      </p:sp>
      <p:pic>
        <p:nvPicPr>
          <p:cNvPr id="27" name="Billede 26">
            <a:extLst>
              <a:ext uri="{FF2B5EF4-FFF2-40B4-BE49-F238E27FC236}">
                <a16:creationId xmlns:a16="http://schemas.microsoft.com/office/drawing/2014/main" id="{3A5D5234-21E3-4579-AE5E-A650C0CF9F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50863" y="1456513"/>
            <a:ext cx="229340" cy="274388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82185" y="3020215"/>
            <a:ext cx="235341" cy="407925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93942" y="1120388"/>
            <a:ext cx="2079000" cy="3894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Do this at the very end to apply the changes </a:t>
            </a:r>
            <a:b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on all slide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eader &amp; Footer </a:t>
            </a: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tab </a:t>
            </a:r>
            <a:b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(write the desired text, click date or Slide </a:t>
            </a:r>
            <a:b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number from or to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to selected slide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12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When copying old content to your new presentation, </a:t>
            </a:r>
            <a:b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2 options are available: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675" b="0" i="0" u="sng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675" b="0" i="0" u="sng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675" b="1" i="0" u="sng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When presentation is done, open an empty presentation (press Ctrl+N). Copy all slides from presentation, paste them into empty one. This will ensure that there are no extra layout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sert predefined slides and elements </a:t>
            </a:r>
            <a:b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using the Templafy pane. Choose </a:t>
            </a:r>
            <a:b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from the </a:t>
            </a:r>
            <a:b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buttons in the Templafy pane on the </a:t>
            </a:r>
            <a:b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right side of the screen</a:t>
            </a:r>
            <a:endParaRPr lang="en-GB" altLang="da-DK" sz="675" b="1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287338" y="240670"/>
            <a:ext cx="8569325" cy="48762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24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72942" y="1587362"/>
            <a:ext cx="283720" cy="407525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D27C8A6-3124-4A11-900D-2C649BB3C7C9}" type="datetime4">
              <a:rPr lang="en-GB" smtClean="0"/>
              <a:t>14 February 2024</a:t>
            </a:fld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2" name="Slide Number Placeholder 10" hidden="1">
            <a:extLst>
              <a:ext uri="{FF2B5EF4-FFF2-40B4-BE49-F238E27FC236}">
                <a16:creationId xmlns:a16="http://schemas.microsoft.com/office/drawing/2014/main" id="{B01A309B-80AB-481C-AE3F-3C56C2C92E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901" t="45142" r="62601" b="9046"/>
          <a:stretch/>
        </p:blipFill>
        <p:spPr>
          <a:xfrm>
            <a:off x="5537581" y="2482382"/>
            <a:ext cx="255903" cy="241280"/>
          </a:xfrm>
          <a:prstGeom prst="rect">
            <a:avLst/>
          </a:prstGeom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87338" y="1120388"/>
            <a:ext cx="2079000" cy="3487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TEXT STYLES</a:t>
            </a:r>
            <a:endParaRPr lang="en-GB" altLang="da-DK" sz="1200" b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US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US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US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-key to jump though bullet-point levels. </a:t>
            </a:r>
            <a:r>
              <a:rPr lang="en-GB" altLang="da-DK" sz="675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ENTER </a:t>
            </a:r>
            <a:r>
              <a:rPr lang="en-GB" altLang="da-DK" sz="675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and</a:t>
            </a:r>
            <a:r>
              <a:rPr lang="en-GB" altLang="da-DK" sz="675" b="1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TAB</a:t>
            </a:r>
            <a:r>
              <a:rPr lang="en-GB" altLang="da-DK" sz="675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675" b="1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HIFT+TAB</a:t>
            </a:r>
            <a:endParaRPr lang="en-GB" sz="675" b="1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sz="675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675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sz="675" b="1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675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br>
              <a:rPr lang="en-GB" sz="675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endParaRPr lang="en-GB" sz="675" baseline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eaLnBrk="1" hangingPunct="1">
              <a:spcAft>
                <a:spcPts val="450"/>
              </a:spcAft>
              <a:defRPr/>
            </a:pPr>
            <a:b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2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LIDES &amp; LAYOUT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hange layout</a:t>
            </a:r>
            <a:endParaRPr lang="en-GB" altLang="da-DK" sz="675" b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450"/>
              </a:spcAft>
              <a:buFont typeface="+mj-lt"/>
              <a:buNone/>
            </a:pPr>
            <a:r>
              <a:rPr lang="en-GB" sz="675" noProof="1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Click on the arrow next to </a:t>
            </a:r>
            <a:r>
              <a:rPr lang="en-GB" sz="675" b="1" noProof="1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Layout </a:t>
            </a:r>
            <a:r>
              <a:rPr lang="en-GB" sz="675" noProof="1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to view a dropdown menu of possible slide layouts</a:t>
            </a:r>
            <a:br>
              <a:rPr lang="en-GB" sz="675" noProof="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</a:br>
            <a:endParaRPr lang="en-GB" sz="675" noProof="0" dirty="0">
              <a:solidFill>
                <a:srgbClr val="000000"/>
              </a:solidFill>
              <a:latin typeface="+mn-lt"/>
              <a:ea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675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tab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Reset</a:t>
            </a:r>
            <a:r>
              <a:rPr lang="en-GB" altLang="da-DK" sz="675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menu to reset position, size and formatting of the slide placeholders to their default settings</a:t>
            </a:r>
            <a:endParaRPr lang="en-GB" sz="675" dirty="0">
              <a:solidFill>
                <a:srgbClr val="000000"/>
              </a:solidFill>
              <a:latin typeface="+mn-lt"/>
              <a:ea typeface="Arial" panose="020B060402020202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330238" y="3644419"/>
            <a:ext cx="356571" cy="13257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30238" y="3003681"/>
            <a:ext cx="246661" cy="379126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32261" y="4318893"/>
            <a:ext cx="403849" cy="12963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30238" y="1874737"/>
            <a:ext cx="342857" cy="19285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92A5FDF-69DC-4DD2-BFF8-3478E75DBB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l="50000" t="50000" b="4554"/>
          <a:stretch/>
        </p:blipFill>
        <p:spPr>
          <a:xfrm>
            <a:off x="5501467" y="2020948"/>
            <a:ext cx="328131" cy="274388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D428E528-3C21-43A5-9A1F-5FC8A3BB1E92}"/>
              </a:ext>
            </a:extLst>
          </p:cNvPr>
          <p:cNvGrpSpPr/>
          <p:nvPr userDrawn="1"/>
        </p:nvGrpSpPr>
        <p:grpSpPr>
          <a:xfrm>
            <a:off x="8078513" y="4518475"/>
            <a:ext cx="743810" cy="288491"/>
            <a:chOff x="10992821" y="4404000"/>
            <a:chExt cx="1588357" cy="61605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44E7E5B-C2F8-47A1-8626-A6E32640159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1"/>
            <a:srcRect l="1" t="29690" r="1315"/>
            <a:stretch/>
          </p:blipFill>
          <p:spPr>
            <a:xfrm>
              <a:off x="10992821" y="4404000"/>
              <a:ext cx="1588357" cy="616052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5065702C-2099-41C8-904A-A3616CD11CA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1"/>
            <a:srcRect l="21641" t="72894" r="72046" b="1834"/>
            <a:stretch/>
          </p:blipFill>
          <p:spPr>
            <a:xfrm>
              <a:off x="12479578" y="4785230"/>
              <a:ext cx="101600" cy="221441"/>
            </a:xfrm>
            <a:prstGeom prst="rect">
              <a:avLst/>
            </a:prstGeom>
          </p:spPr>
        </p:pic>
      </p:grpSp>
      <p:pic>
        <p:nvPicPr>
          <p:cNvPr id="34" name="Picture 2">
            <a:extLst>
              <a:ext uri="{FF2B5EF4-FFF2-40B4-BE49-F238E27FC236}">
                <a16:creationId xmlns:a16="http://schemas.microsoft.com/office/drawing/2014/main" id="{23C2B142-78D9-4D1A-A62B-85445D78273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330238" y="2407138"/>
            <a:ext cx="192857" cy="2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28401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594722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rgbClr val="F7EAE4">
            <a:alpha val="25098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1" y="231777"/>
            <a:ext cx="4104000" cy="2583344"/>
          </a:xfrm>
        </p:spPr>
        <p:txBody>
          <a:bodyPr anchor="b"/>
          <a:lstStyle>
            <a:lvl1pPr algn="l">
              <a:defRPr sz="4400" b="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6261" y="2933271"/>
            <a:ext cx="4104000" cy="1008000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2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add sub title</a:t>
            </a:r>
          </a:p>
        </p:txBody>
      </p:sp>
      <p:grpSp>
        <p:nvGrpSpPr>
          <p:cNvPr id="11" name="Logo">
            <a:extLst>
              <a:ext uri="{FF2B5EF4-FFF2-40B4-BE49-F238E27FC236}">
                <a16:creationId xmlns:a16="http://schemas.microsoft.com/office/drawing/2014/main" id="{E1AED2E5-EACC-4379-8B86-BDCC33C414F2}"/>
              </a:ext>
            </a:extLst>
          </p:cNvPr>
          <p:cNvGrpSpPr/>
          <p:nvPr userDrawn="1"/>
        </p:nvGrpSpPr>
        <p:grpSpPr>
          <a:xfrm>
            <a:off x="571126" y="4482250"/>
            <a:ext cx="1535077" cy="256610"/>
            <a:chOff x="301852" y="4913727"/>
            <a:chExt cx="487916" cy="81562"/>
          </a:xfrm>
          <a:solidFill>
            <a:schemeClr val="tx2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9A30684-A5A5-4C39-B1C5-51CC46FDC0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958762"/>
            <a:ext cx="4104000" cy="36512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655B54"/>
                </a:solidFill>
              </a:defRPr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US"/>
              <a:t>Click to add date and/or presenters name</a:t>
            </a:r>
          </a:p>
        </p:txBody>
      </p:sp>
      <p:sp>
        <p:nvSpPr>
          <p:cNvPr id="73" name="Dots">
            <a:extLst>
              <a:ext uri="{FF2B5EF4-FFF2-40B4-BE49-F238E27FC236}">
                <a16:creationId xmlns:a16="http://schemas.microsoft.com/office/drawing/2014/main" id="{B0423462-8FE2-4022-8D8D-6B7FE496DDA1}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5972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1851819"/>
            <a:ext cx="3273091" cy="1439863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 for example Agenda</a:t>
            </a:r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5" name="Dots">
            <a:extLst>
              <a:ext uri="{FF2B5EF4-FFF2-40B4-BE49-F238E27FC236}">
                <a16:creationId xmlns:a16="http://schemas.microsoft.com/office/drawing/2014/main" id="{7EB53862-94DA-442E-9BA3-F56AE08555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tx2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93DDC7-6347-4E7C-80D6-CA23706A06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87788" y="231774"/>
            <a:ext cx="3276600" cy="4680000"/>
          </a:xfrm>
        </p:spPr>
        <p:txBody>
          <a:bodyPr anchor="ctr"/>
          <a:lstStyle>
            <a:lvl1pPr marL="239713" indent="-239713">
              <a:buClr>
                <a:schemeClr val="tx2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407988" indent="-173038">
              <a:buClr>
                <a:schemeClr val="tx2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2pPr>
            <a:lvl3pPr marL="587375" indent="-174625">
              <a:buClr>
                <a:schemeClr val="tx2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768350" indent="-188913">
              <a:buClr>
                <a:schemeClr val="tx2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946150" indent="-177800">
              <a:buClr>
                <a:schemeClr val="tx2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DC43ACE-919E-4F14-B57A-476B078BDAD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8C85202-0B59-48F2-8674-991A71F862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C77536-C884-4A81-AE68-002872FF97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7289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3" pos="4513">
          <p15:clr>
            <a:srgbClr val="FBAE40"/>
          </p15:clr>
        </p15:guide>
        <p15:guide id="4" pos="2245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Logo">
            <a:extLst>
              <a:ext uri="{FF2B5EF4-FFF2-40B4-BE49-F238E27FC236}">
                <a16:creationId xmlns:a16="http://schemas.microsoft.com/office/drawing/2014/main" id="{E1AED2E5-EACC-4379-8B86-BDCC33C414F2}"/>
              </a:ext>
            </a:extLst>
          </p:cNvPr>
          <p:cNvGrpSpPr/>
          <p:nvPr userDrawn="1"/>
        </p:nvGrpSpPr>
        <p:grpSpPr>
          <a:xfrm>
            <a:off x="571126" y="4482250"/>
            <a:ext cx="1535077" cy="256610"/>
            <a:chOff x="301852" y="4913727"/>
            <a:chExt cx="487916" cy="81562"/>
          </a:xfrm>
          <a:solidFill>
            <a:schemeClr val="bg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C7D6CCA3-D98F-4E8C-B9B8-253423212EE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1" y="231777"/>
            <a:ext cx="4104000" cy="2583344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466A57BE-C742-4942-BC2C-5CCB046B10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1" y="2933271"/>
            <a:ext cx="4104000" cy="1008000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add sub title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D784ED6D-55C4-43AE-897A-8020AD869C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958762"/>
            <a:ext cx="4104000" cy="36512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EACBBB"/>
                </a:solidFill>
              </a:defRPr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US"/>
              <a:t>Click to add date and/or presenters name</a:t>
            </a:r>
          </a:p>
        </p:txBody>
      </p:sp>
      <p:sp>
        <p:nvSpPr>
          <p:cNvPr id="39" name="Dots">
            <a:extLst>
              <a:ext uri="{FF2B5EF4-FFF2-40B4-BE49-F238E27FC236}">
                <a16:creationId xmlns:a16="http://schemas.microsoft.com/office/drawing/2014/main" id="{7E284916-3830-4B2D-96DE-5DDABBF929B7}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6814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solidFill>
          <a:schemeClr val="bg1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1B9C4FDA-47FC-4EF4-87B8-F8831D0B6EFD}"/>
              </a:ext>
            </a:extLst>
          </p:cNvPr>
          <p:cNvSpPr/>
          <p:nvPr userDrawn="1"/>
        </p:nvSpPr>
        <p:spPr>
          <a:xfrm>
            <a:off x="5466988" y="0"/>
            <a:ext cx="3677012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9F08C50D-C580-4576-ABA3-0C6EDE50A78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34626" y="0"/>
            <a:ext cx="3711600" cy="5143500"/>
          </a:xfrm>
          <a:custGeom>
            <a:avLst/>
            <a:gdLst>
              <a:gd name="connsiteX0" fmla="*/ 142240 w 3708000"/>
              <a:gd name="connsiteY0" fmla="*/ 2070213 h 5143500"/>
              <a:gd name="connsiteX1" fmla="*/ 129373 w 3708000"/>
              <a:gd name="connsiteY1" fmla="*/ 2081770 h 5143500"/>
              <a:gd name="connsiteX2" fmla="*/ 129373 w 3708000"/>
              <a:gd name="connsiteY2" fmla="*/ 2081817 h 5143500"/>
              <a:gd name="connsiteX3" fmla="*/ 141900 w 3708000"/>
              <a:gd name="connsiteY3" fmla="*/ 2093986 h 5143500"/>
              <a:gd name="connsiteX4" fmla="*/ 154416 w 3708000"/>
              <a:gd name="connsiteY4" fmla="*/ 2082425 h 5143500"/>
              <a:gd name="connsiteX5" fmla="*/ 142240 w 3708000"/>
              <a:gd name="connsiteY5" fmla="*/ 2070213 h 5143500"/>
              <a:gd name="connsiteX6" fmla="*/ 142531 w 3708000"/>
              <a:gd name="connsiteY6" fmla="*/ 1765449 h 5143500"/>
              <a:gd name="connsiteX7" fmla="*/ 116798 w 3708000"/>
              <a:gd name="connsiteY7" fmla="*/ 1788657 h 5143500"/>
              <a:gd name="connsiteX8" fmla="*/ 116798 w 3708000"/>
              <a:gd name="connsiteY8" fmla="*/ 1788707 h 5143500"/>
              <a:gd name="connsiteX9" fmla="*/ 141899 w 3708000"/>
              <a:gd name="connsiteY9" fmla="*/ 1813090 h 5143500"/>
              <a:gd name="connsiteX10" fmla="*/ 166987 w 3708000"/>
              <a:gd name="connsiteY10" fmla="*/ 1789873 h 5143500"/>
              <a:gd name="connsiteX11" fmla="*/ 142531 w 3708000"/>
              <a:gd name="connsiteY11" fmla="*/ 1765449 h 5143500"/>
              <a:gd name="connsiteX12" fmla="*/ 142240 w 3708000"/>
              <a:gd name="connsiteY12" fmla="*/ 1484172 h 5143500"/>
              <a:gd name="connsiteX13" fmla="*/ 129373 w 3708000"/>
              <a:gd name="connsiteY13" fmla="*/ 1495729 h 5143500"/>
              <a:gd name="connsiteX14" fmla="*/ 129373 w 3708000"/>
              <a:gd name="connsiteY14" fmla="*/ 1495874 h 5143500"/>
              <a:gd name="connsiteX15" fmla="*/ 141899 w 3708000"/>
              <a:gd name="connsiteY15" fmla="*/ 1507945 h 5143500"/>
              <a:gd name="connsiteX16" fmla="*/ 154416 w 3708000"/>
              <a:gd name="connsiteY16" fmla="*/ 1496384 h 5143500"/>
              <a:gd name="connsiteX17" fmla="*/ 142240 w 3708000"/>
              <a:gd name="connsiteY17" fmla="*/ 1484172 h 5143500"/>
              <a:gd name="connsiteX18" fmla="*/ 142240 w 3708000"/>
              <a:gd name="connsiteY18" fmla="*/ 1191246 h 5143500"/>
              <a:gd name="connsiteX19" fmla="*/ 129373 w 3708000"/>
              <a:gd name="connsiteY19" fmla="*/ 1202803 h 5143500"/>
              <a:gd name="connsiteX20" fmla="*/ 129373 w 3708000"/>
              <a:gd name="connsiteY20" fmla="*/ 1202948 h 5143500"/>
              <a:gd name="connsiteX21" fmla="*/ 141899 w 3708000"/>
              <a:gd name="connsiteY21" fmla="*/ 1215019 h 5143500"/>
              <a:gd name="connsiteX22" fmla="*/ 154416 w 3708000"/>
              <a:gd name="connsiteY22" fmla="*/ 1203458 h 5143500"/>
              <a:gd name="connsiteX23" fmla="*/ 142240 w 3708000"/>
              <a:gd name="connsiteY23" fmla="*/ 1191246 h 5143500"/>
              <a:gd name="connsiteX24" fmla="*/ 142191 w 3708000"/>
              <a:gd name="connsiteY24" fmla="*/ 898320 h 5143500"/>
              <a:gd name="connsiteX25" fmla="*/ 129373 w 3708000"/>
              <a:gd name="connsiteY25" fmla="*/ 909924 h 5143500"/>
              <a:gd name="connsiteX26" fmla="*/ 141900 w 3708000"/>
              <a:gd name="connsiteY26" fmla="*/ 922093 h 5143500"/>
              <a:gd name="connsiteX27" fmla="*/ 154421 w 3708000"/>
              <a:gd name="connsiteY27" fmla="*/ 910486 h 5143500"/>
              <a:gd name="connsiteX28" fmla="*/ 142191 w 3708000"/>
              <a:gd name="connsiteY28" fmla="*/ 898320 h 5143500"/>
              <a:gd name="connsiteX29" fmla="*/ 142486 w 3708000"/>
              <a:gd name="connsiteY29" fmla="*/ 593738 h 5143500"/>
              <a:gd name="connsiteX30" fmla="*/ 116798 w 3708000"/>
              <a:gd name="connsiteY30" fmla="*/ 616998 h 5143500"/>
              <a:gd name="connsiteX31" fmla="*/ 141900 w 3708000"/>
              <a:gd name="connsiteY31" fmla="*/ 641384 h 5143500"/>
              <a:gd name="connsiteX32" fmla="*/ 166986 w 3708000"/>
              <a:gd name="connsiteY32" fmla="*/ 618121 h 5143500"/>
              <a:gd name="connsiteX33" fmla="*/ 142486 w 3708000"/>
              <a:gd name="connsiteY33" fmla="*/ 593738 h 5143500"/>
              <a:gd name="connsiteX34" fmla="*/ 142191 w 3708000"/>
              <a:gd name="connsiteY34" fmla="*/ 312467 h 5143500"/>
              <a:gd name="connsiteX35" fmla="*/ 129373 w 3708000"/>
              <a:gd name="connsiteY35" fmla="*/ 324071 h 5143500"/>
              <a:gd name="connsiteX36" fmla="*/ 141900 w 3708000"/>
              <a:gd name="connsiteY36" fmla="*/ 336240 h 5143500"/>
              <a:gd name="connsiteX37" fmla="*/ 154421 w 3708000"/>
              <a:gd name="connsiteY37" fmla="*/ 324633 h 5143500"/>
              <a:gd name="connsiteX38" fmla="*/ 142191 w 3708000"/>
              <a:gd name="connsiteY38" fmla="*/ 312467 h 5143500"/>
              <a:gd name="connsiteX39" fmla="*/ 0 w 3708000"/>
              <a:gd name="connsiteY39" fmla="*/ 0 h 5143500"/>
              <a:gd name="connsiteX40" fmla="*/ 3708000 w 3708000"/>
              <a:gd name="connsiteY40" fmla="*/ 0 h 5143500"/>
              <a:gd name="connsiteX41" fmla="*/ 3708000 w 3708000"/>
              <a:gd name="connsiteY41" fmla="*/ 5143500 h 5143500"/>
              <a:gd name="connsiteX42" fmla="*/ 0 w 3708000"/>
              <a:gd name="connsiteY4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3708000" h="5143500">
                <a:moveTo>
                  <a:pt x="142240" y="2070213"/>
                </a:moveTo>
                <a:cubicBezTo>
                  <a:pt x="135327" y="2070030"/>
                  <a:pt x="129566" y="2075207"/>
                  <a:pt x="129373" y="2081770"/>
                </a:cubicBezTo>
                <a:cubicBezTo>
                  <a:pt x="129373" y="2081784"/>
                  <a:pt x="129373" y="2081802"/>
                  <a:pt x="129373" y="2081817"/>
                </a:cubicBezTo>
                <a:cubicBezTo>
                  <a:pt x="129289" y="2088463"/>
                  <a:pt x="134903" y="2093912"/>
                  <a:pt x="141900" y="2093986"/>
                </a:cubicBezTo>
                <a:cubicBezTo>
                  <a:pt x="148681" y="2093982"/>
                  <a:pt x="154228" y="2088862"/>
                  <a:pt x="154416" y="2082425"/>
                </a:cubicBezTo>
                <a:cubicBezTo>
                  <a:pt x="154608" y="2075863"/>
                  <a:pt x="149155" y="2070395"/>
                  <a:pt x="142240" y="2070213"/>
                </a:cubicBezTo>
                <a:close/>
                <a:moveTo>
                  <a:pt x="142531" y="1765449"/>
                </a:moveTo>
                <a:cubicBezTo>
                  <a:pt x="128673" y="1765111"/>
                  <a:pt x="117153" y="1775503"/>
                  <a:pt x="116798" y="1788657"/>
                </a:cubicBezTo>
                <a:cubicBezTo>
                  <a:pt x="116798" y="1788675"/>
                  <a:pt x="116798" y="1788689"/>
                  <a:pt x="116798" y="1788707"/>
                </a:cubicBezTo>
                <a:cubicBezTo>
                  <a:pt x="116635" y="1802020"/>
                  <a:pt x="127874" y="1812936"/>
                  <a:pt x="141899" y="1813090"/>
                </a:cubicBezTo>
                <a:cubicBezTo>
                  <a:pt x="155511" y="1813086"/>
                  <a:pt x="166635" y="1802788"/>
                  <a:pt x="166987" y="1789873"/>
                </a:cubicBezTo>
                <a:cubicBezTo>
                  <a:pt x="167337" y="1776720"/>
                  <a:pt x="156393" y="1765781"/>
                  <a:pt x="142531" y="1765449"/>
                </a:cubicBezTo>
                <a:close/>
                <a:moveTo>
                  <a:pt x="142240" y="1484172"/>
                </a:moveTo>
                <a:cubicBezTo>
                  <a:pt x="135326" y="1483989"/>
                  <a:pt x="129565" y="1489166"/>
                  <a:pt x="129373" y="1495729"/>
                </a:cubicBezTo>
                <a:cubicBezTo>
                  <a:pt x="129373" y="1495776"/>
                  <a:pt x="129373" y="1495823"/>
                  <a:pt x="129373" y="1495874"/>
                </a:cubicBezTo>
                <a:cubicBezTo>
                  <a:pt x="129319" y="1502488"/>
                  <a:pt x="134926" y="1507895"/>
                  <a:pt x="141899" y="1507945"/>
                </a:cubicBezTo>
                <a:cubicBezTo>
                  <a:pt x="148680" y="1507941"/>
                  <a:pt x="154228" y="1502821"/>
                  <a:pt x="154416" y="1496384"/>
                </a:cubicBezTo>
                <a:cubicBezTo>
                  <a:pt x="154608" y="1489822"/>
                  <a:pt x="149154" y="1484354"/>
                  <a:pt x="142240" y="1484172"/>
                </a:cubicBezTo>
                <a:close/>
                <a:moveTo>
                  <a:pt x="142240" y="1191246"/>
                </a:moveTo>
                <a:cubicBezTo>
                  <a:pt x="135326" y="1191064"/>
                  <a:pt x="129565" y="1196240"/>
                  <a:pt x="129373" y="1202803"/>
                </a:cubicBezTo>
                <a:cubicBezTo>
                  <a:pt x="129373" y="1202850"/>
                  <a:pt x="129373" y="1202897"/>
                  <a:pt x="129373" y="1202948"/>
                </a:cubicBezTo>
                <a:cubicBezTo>
                  <a:pt x="129319" y="1209562"/>
                  <a:pt x="134926" y="1214969"/>
                  <a:pt x="141899" y="1215019"/>
                </a:cubicBezTo>
                <a:cubicBezTo>
                  <a:pt x="148680" y="1215015"/>
                  <a:pt x="154228" y="1209895"/>
                  <a:pt x="154416" y="1203458"/>
                </a:cubicBezTo>
                <a:cubicBezTo>
                  <a:pt x="154608" y="1196896"/>
                  <a:pt x="149154" y="1191428"/>
                  <a:pt x="142240" y="1191246"/>
                </a:cubicBezTo>
                <a:close/>
                <a:moveTo>
                  <a:pt x="142191" y="898320"/>
                </a:moveTo>
                <a:cubicBezTo>
                  <a:pt x="135277" y="898165"/>
                  <a:pt x="129537" y="903361"/>
                  <a:pt x="129373" y="909924"/>
                </a:cubicBezTo>
                <a:cubicBezTo>
                  <a:pt x="129294" y="916570"/>
                  <a:pt x="134903" y="922019"/>
                  <a:pt x="141900" y="922093"/>
                </a:cubicBezTo>
                <a:cubicBezTo>
                  <a:pt x="148701" y="922093"/>
                  <a:pt x="154258" y="916941"/>
                  <a:pt x="154421" y="910486"/>
                </a:cubicBezTo>
                <a:cubicBezTo>
                  <a:pt x="154583" y="903923"/>
                  <a:pt x="149109" y="898474"/>
                  <a:pt x="142191" y="898320"/>
                </a:cubicBezTo>
                <a:close/>
                <a:moveTo>
                  <a:pt x="142486" y="593738"/>
                </a:moveTo>
                <a:cubicBezTo>
                  <a:pt x="128623" y="593429"/>
                  <a:pt x="117123" y="603844"/>
                  <a:pt x="116798" y="616998"/>
                </a:cubicBezTo>
                <a:cubicBezTo>
                  <a:pt x="116660" y="630301"/>
                  <a:pt x="127884" y="641207"/>
                  <a:pt x="141900" y="641384"/>
                </a:cubicBezTo>
                <a:cubicBezTo>
                  <a:pt x="155531" y="641381"/>
                  <a:pt x="166666" y="631054"/>
                  <a:pt x="166986" y="618121"/>
                </a:cubicBezTo>
                <a:cubicBezTo>
                  <a:pt x="167312" y="604968"/>
                  <a:pt x="156344" y="594052"/>
                  <a:pt x="142486" y="593738"/>
                </a:cubicBezTo>
                <a:close/>
                <a:moveTo>
                  <a:pt x="142191" y="312467"/>
                </a:moveTo>
                <a:cubicBezTo>
                  <a:pt x="135277" y="312312"/>
                  <a:pt x="129537" y="317508"/>
                  <a:pt x="129373" y="324071"/>
                </a:cubicBezTo>
                <a:cubicBezTo>
                  <a:pt x="129294" y="330717"/>
                  <a:pt x="134903" y="336166"/>
                  <a:pt x="141900" y="336240"/>
                </a:cubicBezTo>
                <a:cubicBezTo>
                  <a:pt x="148701" y="336240"/>
                  <a:pt x="154258" y="331088"/>
                  <a:pt x="154421" y="324633"/>
                </a:cubicBezTo>
                <a:cubicBezTo>
                  <a:pt x="154583" y="318071"/>
                  <a:pt x="149109" y="312621"/>
                  <a:pt x="142191" y="312467"/>
                </a:cubicBezTo>
                <a:close/>
                <a:moveTo>
                  <a:pt x="0" y="0"/>
                </a:moveTo>
                <a:lnTo>
                  <a:pt x="3708000" y="0"/>
                </a:lnTo>
                <a:lnTo>
                  <a:pt x="3708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8" name="Dots">
            <a:extLst>
              <a:ext uri="{FF2B5EF4-FFF2-40B4-BE49-F238E27FC236}">
                <a16:creationId xmlns:a16="http://schemas.microsoft.com/office/drawing/2014/main" id="{73DE4581-E0EA-4A8F-A722-4EDE83490D89}"/>
              </a:ext>
            </a:extLst>
          </p:cNvPr>
          <p:cNvSpPr/>
          <p:nvPr userDrawn="1"/>
        </p:nvSpPr>
        <p:spPr>
          <a:xfrm rot="16200000">
            <a:off x="3783671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1" y="231777"/>
            <a:ext cx="4104000" cy="2583344"/>
          </a:xfrm>
        </p:spPr>
        <p:txBody>
          <a:bodyPr anchor="b"/>
          <a:lstStyle>
            <a:lvl1pPr algn="l"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6261" y="2933271"/>
            <a:ext cx="4104000" cy="1008000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tx2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add sub title</a:t>
            </a:r>
          </a:p>
        </p:txBody>
      </p:sp>
      <p:grpSp>
        <p:nvGrpSpPr>
          <p:cNvPr id="11" name="Logo">
            <a:extLst>
              <a:ext uri="{FF2B5EF4-FFF2-40B4-BE49-F238E27FC236}">
                <a16:creationId xmlns:a16="http://schemas.microsoft.com/office/drawing/2014/main" id="{E1AED2E5-EACC-4379-8B86-BDCC33C414F2}"/>
              </a:ext>
            </a:extLst>
          </p:cNvPr>
          <p:cNvGrpSpPr/>
          <p:nvPr userDrawn="1"/>
        </p:nvGrpSpPr>
        <p:grpSpPr>
          <a:xfrm>
            <a:off x="571126" y="4482250"/>
            <a:ext cx="1535077" cy="256610"/>
            <a:chOff x="301852" y="4913727"/>
            <a:chExt cx="487916" cy="81562"/>
          </a:xfrm>
          <a:solidFill>
            <a:schemeClr val="tx2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9A30684-A5A5-4C39-B1C5-51CC46FDC0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958762"/>
            <a:ext cx="4104000" cy="36512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655B54"/>
                </a:solidFill>
              </a:defRPr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US"/>
              <a:t>Click to add date and/or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73625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30CC86D-A9F1-4C7F-8A8B-0E2535F8A86C}"/>
              </a:ext>
            </a:extLst>
          </p:cNvPr>
          <p:cNvSpPr/>
          <p:nvPr userDrawn="1"/>
        </p:nvSpPr>
        <p:spPr>
          <a:xfrm>
            <a:off x="5466988" y="0"/>
            <a:ext cx="3677012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76" name="Picture Placeholder 75">
            <a:extLst>
              <a:ext uri="{FF2B5EF4-FFF2-40B4-BE49-F238E27FC236}">
                <a16:creationId xmlns:a16="http://schemas.microsoft.com/office/drawing/2014/main" id="{C0D90AE0-1FCB-4D84-ABAD-75632D77D5F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34626" y="0"/>
            <a:ext cx="3711600" cy="5143500"/>
          </a:xfrm>
          <a:custGeom>
            <a:avLst/>
            <a:gdLst>
              <a:gd name="connsiteX0" fmla="*/ 142240 w 3708000"/>
              <a:gd name="connsiteY0" fmla="*/ 2070213 h 5143500"/>
              <a:gd name="connsiteX1" fmla="*/ 129373 w 3708000"/>
              <a:gd name="connsiteY1" fmla="*/ 2081770 h 5143500"/>
              <a:gd name="connsiteX2" fmla="*/ 129373 w 3708000"/>
              <a:gd name="connsiteY2" fmla="*/ 2081817 h 5143500"/>
              <a:gd name="connsiteX3" fmla="*/ 141900 w 3708000"/>
              <a:gd name="connsiteY3" fmla="*/ 2093986 h 5143500"/>
              <a:gd name="connsiteX4" fmla="*/ 154416 w 3708000"/>
              <a:gd name="connsiteY4" fmla="*/ 2082425 h 5143500"/>
              <a:gd name="connsiteX5" fmla="*/ 142240 w 3708000"/>
              <a:gd name="connsiteY5" fmla="*/ 2070213 h 5143500"/>
              <a:gd name="connsiteX6" fmla="*/ 142531 w 3708000"/>
              <a:gd name="connsiteY6" fmla="*/ 1765449 h 5143500"/>
              <a:gd name="connsiteX7" fmla="*/ 116798 w 3708000"/>
              <a:gd name="connsiteY7" fmla="*/ 1788657 h 5143500"/>
              <a:gd name="connsiteX8" fmla="*/ 116798 w 3708000"/>
              <a:gd name="connsiteY8" fmla="*/ 1788707 h 5143500"/>
              <a:gd name="connsiteX9" fmla="*/ 141899 w 3708000"/>
              <a:gd name="connsiteY9" fmla="*/ 1813090 h 5143500"/>
              <a:gd name="connsiteX10" fmla="*/ 166987 w 3708000"/>
              <a:gd name="connsiteY10" fmla="*/ 1789873 h 5143500"/>
              <a:gd name="connsiteX11" fmla="*/ 142531 w 3708000"/>
              <a:gd name="connsiteY11" fmla="*/ 1765449 h 5143500"/>
              <a:gd name="connsiteX12" fmla="*/ 142240 w 3708000"/>
              <a:gd name="connsiteY12" fmla="*/ 1484172 h 5143500"/>
              <a:gd name="connsiteX13" fmla="*/ 129373 w 3708000"/>
              <a:gd name="connsiteY13" fmla="*/ 1495729 h 5143500"/>
              <a:gd name="connsiteX14" fmla="*/ 129373 w 3708000"/>
              <a:gd name="connsiteY14" fmla="*/ 1495874 h 5143500"/>
              <a:gd name="connsiteX15" fmla="*/ 141899 w 3708000"/>
              <a:gd name="connsiteY15" fmla="*/ 1507945 h 5143500"/>
              <a:gd name="connsiteX16" fmla="*/ 154416 w 3708000"/>
              <a:gd name="connsiteY16" fmla="*/ 1496384 h 5143500"/>
              <a:gd name="connsiteX17" fmla="*/ 142240 w 3708000"/>
              <a:gd name="connsiteY17" fmla="*/ 1484172 h 5143500"/>
              <a:gd name="connsiteX18" fmla="*/ 142240 w 3708000"/>
              <a:gd name="connsiteY18" fmla="*/ 1191246 h 5143500"/>
              <a:gd name="connsiteX19" fmla="*/ 129373 w 3708000"/>
              <a:gd name="connsiteY19" fmla="*/ 1202803 h 5143500"/>
              <a:gd name="connsiteX20" fmla="*/ 129373 w 3708000"/>
              <a:gd name="connsiteY20" fmla="*/ 1202948 h 5143500"/>
              <a:gd name="connsiteX21" fmla="*/ 141899 w 3708000"/>
              <a:gd name="connsiteY21" fmla="*/ 1215019 h 5143500"/>
              <a:gd name="connsiteX22" fmla="*/ 154416 w 3708000"/>
              <a:gd name="connsiteY22" fmla="*/ 1203458 h 5143500"/>
              <a:gd name="connsiteX23" fmla="*/ 142240 w 3708000"/>
              <a:gd name="connsiteY23" fmla="*/ 1191246 h 5143500"/>
              <a:gd name="connsiteX24" fmla="*/ 142191 w 3708000"/>
              <a:gd name="connsiteY24" fmla="*/ 898320 h 5143500"/>
              <a:gd name="connsiteX25" fmla="*/ 129373 w 3708000"/>
              <a:gd name="connsiteY25" fmla="*/ 909924 h 5143500"/>
              <a:gd name="connsiteX26" fmla="*/ 141900 w 3708000"/>
              <a:gd name="connsiteY26" fmla="*/ 922093 h 5143500"/>
              <a:gd name="connsiteX27" fmla="*/ 154421 w 3708000"/>
              <a:gd name="connsiteY27" fmla="*/ 910486 h 5143500"/>
              <a:gd name="connsiteX28" fmla="*/ 142191 w 3708000"/>
              <a:gd name="connsiteY28" fmla="*/ 898320 h 5143500"/>
              <a:gd name="connsiteX29" fmla="*/ 142486 w 3708000"/>
              <a:gd name="connsiteY29" fmla="*/ 593738 h 5143500"/>
              <a:gd name="connsiteX30" fmla="*/ 116798 w 3708000"/>
              <a:gd name="connsiteY30" fmla="*/ 616998 h 5143500"/>
              <a:gd name="connsiteX31" fmla="*/ 141900 w 3708000"/>
              <a:gd name="connsiteY31" fmla="*/ 641384 h 5143500"/>
              <a:gd name="connsiteX32" fmla="*/ 166986 w 3708000"/>
              <a:gd name="connsiteY32" fmla="*/ 618121 h 5143500"/>
              <a:gd name="connsiteX33" fmla="*/ 142486 w 3708000"/>
              <a:gd name="connsiteY33" fmla="*/ 593738 h 5143500"/>
              <a:gd name="connsiteX34" fmla="*/ 142191 w 3708000"/>
              <a:gd name="connsiteY34" fmla="*/ 312467 h 5143500"/>
              <a:gd name="connsiteX35" fmla="*/ 129373 w 3708000"/>
              <a:gd name="connsiteY35" fmla="*/ 324071 h 5143500"/>
              <a:gd name="connsiteX36" fmla="*/ 141900 w 3708000"/>
              <a:gd name="connsiteY36" fmla="*/ 336240 h 5143500"/>
              <a:gd name="connsiteX37" fmla="*/ 154421 w 3708000"/>
              <a:gd name="connsiteY37" fmla="*/ 324633 h 5143500"/>
              <a:gd name="connsiteX38" fmla="*/ 142191 w 3708000"/>
              <a:gd name="connsiteY38" fmla="*/ 312467 h 5143500"/>
              <a:gd name="connsiteX39" fmla="*/ 0 w 3708000"/>
              <a:gd name="connsiteY39" fmla="*/ 0 h 5143500"/>
              <a:gd name="connsiteX40" fmla="*/ 3708000 w 3708000"/>
              <a:gd name="connsiteY40" fmla="*/ 0 h 5143500"/>
              <a:gd name="connsiteX41" fmla="*/ 3708000 w 3708000"/>
              <a:gd name="connsiteY41" fmla="*/ 5143500 h 5143500"/>
              <a:gd name="connsiteX42" fmla="*/ 0 w 3708000"/>
              <a:gd name="connsiteY4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3708000" h="5143500">
                <a:moveTo>
                  <a:pt x="142240" y="2070213"/>
                </a:moveTo>
                <a:cubicBezTo>
                  <a:pt x="135327" y="2070030"/>
                  <a:pt x="129566" y="2075207"/>
                  <a:pt x="129373" y="2081770"/>
                </a:cubicBezTo>
                <a:cubicBezTo>
                  <a:pt x="129373" y="2081784"/>
                  <a:pt x="129373" y="2081802"/>
                  <a:pt x="129373" y="2081817"/>
                </a:cubicBezTo>
                <a:cubicBezTo>
                  <a:pt x="129289" y="2088463"/>
                  <a:pt x="134903" y="2093912"/>
                  <a:pt x="141900" y="2093986"/>
                </a:cubicBezTo>
                <a:cubicBezTo>
                  <a:pt x="148681" y="2093982"/>
                  <a:pt x="154228" y="2088862"/>
                  <a:pt x="154416" y="2082425"/>
                </a:cubicBezTo>
                <a:cubicBezTo>
                  <a:pt x="154608" y="2075863"/>
                  <a:pt x="149155" y="2070395"/>
                  <a:pt x="142240" y="2070213"/>
                </a:cubicBezTo>
                <a:close/>
                <a:moveTo>
                  <a:pt x="142531" y="1765449"/>
                </a:moveTo>
                <a:cubicBezTo>
                  <a:pt x="128673" y="1765111"/>
                  <a:pt x="117153" y="1775503"/>
                  <a:pt x="116798" y="1788657"/>
                </a:cubicBezTo>
                <a:cubicBezTo>
                  <a:pt x="116798" y="1788675"/>
                  <a:pt x="116798" y="1788689"/>
                  <a:pt x="116798" y="1788707"/>
                </a:cubicBezTo>
                <a:cubicBezTo>
                  <a:pt x="116635" y="1802020"/>
                  <a:pt x="127874" y="1812936"/>
                  <a:pt x="141899" y="1813090"/>
                </a:cubicBezTo>
                <a:cubicBezTo>
                  <a:pt x="155511" y="1813086"/>
                  <a:pt x="166635" y="1802788"/>
                  <a:pt x="166987" y="1789873"/>
                </a:cubicBezTo>
                <a:cubicBezTo>
                  <a:pt x="167337" y="1776720"/>
                  <a:pt x="156393" y="1765781"/>
                  <a:pt x="142531" y="1765449"/>
                </a:cubicBezTo>
                <a:close/>
                <a:moveTo>
                  <a:pt x="142240" y="1484172"/>
                </a:moveTo>
                <a:cubicBezTo>
                  <a:pt x="135326" y="1483989"/>
                  <a:pt x="129565" y="1489166"/>
                  <a:pt x="129373" y="1495729"/>
                </a:cubicBezTo>
                <a:cubicBezTo>
                  <a:pt x="129373" y="1495776"/>
                  <a:pt x="129373" y="1495823"/>
                  <a:pt x="129373" y="1495874"/>
                </a:cubicBezTo>
                <a:cubicBezTo>
                  <a:pt x="129319" y="1502488"/>
                  <a:pt x="134926" y="1507895"/>
                  <a:pt x="141899" y="1507945"/>
                </a:cubicBezTo>
                <a:cubicBezTo>
                  <a:pt x="148680" y="1507941"/>
                  <a:pt x="154228" y="1502821"/>
                  <a:pt x="154416" y="1496384"/>
                </a:cubicBezTo>
                <a:cubicBezTo>
                  <a:pt x="154608" y="1489822"/>
                  <a:pt x="149154" y="1484354"/>
                  <a:pt x="142240" y="1484172"/>
                </a:cubicBezTo>
                <a:close/>
                <a:moveTo>
                  <a:pt x="142240" y="1191246"/>
                </a:moveTo>
                <a:cubicBezTo>
                  <a:pt x="135326" y="1191064"/>
                  <a:pt x="129565" y="1196240"/>
                  <a:pt x="129373" y="1202803"/>
                </a:cubicBezTo>
                <a:cubicBezTo>
                  <a:pt x="129373" y="1202850"/>
                  <a:pt x="129373" y="1202897"/>
                  <a:pt x="129373" y="1202948"/>
                </a:cubicBezTo>
                <a:cubicBezTo>
                  <a:pt x="129319" y="1209562"/>
                  <a:pt x="134926" y="1214969"/>
                  <a:pt x="141899" y="1215019"/>
                </a:cubicBezTo>
                <a:cubicBezTo>
                  <a:pt x="148680" y="1215015"/>
                  <a:pt x="154228" y="1209895"/>
                  <a:pt x="154416" y="1203458"/>
                </a:cubicBezTo>
                <a:cubicBezTo>
                  <a:pt x="154608" y="1196896"/>
                  <a:pt x="149154" y="1191428"/>
                  <a:pt x="142240" y="1191246"/>
                </a:cubicBezTo>
                <a:close/>
                <a:moveTo>
                  <a:pt x="142191" y="898320"/>
                </a:moveTo>
                <a:cubicBezTo>
                  <a:pt x="135277" y="898165"/>
                  <a:pt x="129537" y="903361"/>
                  <a:pt x="129373" y="909924"/>
                </a:cubicBezTo>
                <a:cubicBezTo>
                  <a:pt x="129294" y="916570"/>
                  <a:pt x="134903" y="922019"/>
                  <a:pt x="141900" y="922093"/>
                </a:cubicBezTo>
                <a:cubicBezTo>
                  <a:pt x="148701" y="922093"/>
                  <a:pt x="154258" y="916941"/>
                  <a:pt x="154421" y="910486"/>
                </a:cubicBezTo>
                <a:cubicBezTo>
                  <a:pt x="154583" y="903923"/>
                  <a:pt x="149109" y="898474"/>
                  <a:pt x="142191" y="898320"/>
                </a:cubicBezTo>
                <a:close/>
                <a:moveTo>
                  <a:pt x="142486" y="593738"/>
                </a:moveTo>
                <a:cubicBezTo>
                  <a:pt x="128623" y="593429"/>
                  <a:pt x="117123" y="603844"/>
                  <a:pt x="116798" y="616998"/>
                </a:cubicBezTo>
                <a:cubicBezTo>
                  <a:pt x="116660" y="630301"/>
                  <a:pt x="127884" y="641207"/>
                  <a:pt x="141900" y="641384"/>
                </a:cubicBezTo>
                <a:cubicBezTo>
                  <a:pt x="155531" y="641381"/>
                  <a:pt x="166666" y="631054"/>
                  <a:pt x="166986" y="618121"/>
                </a:cubicBezTo>
                <a:cubicBezTo>
                  <a:pt x="167312" y="604968"/>
                  <a:pt x="156344" y="594052"/>
                  <a:pt x="142486" y="593738"/>
                </a:cubicBezTo>
                <a:close/>
                <a:moveTo>
                  <a:pt x="142191" y="312467"/>
                </a:moveTo>
                <a:cubicBezTo>
                  <a:pt x="135277" y="312312"/>
                  <a:pt x="129537" y="317508"/>
                  <a:pt x="129373" y="324071"/>
                </a:cubicBezTo>
                <a:cubicBezTo>
                  <a:pt x="129294" y="330717"/>
                  <a:pt x="134903" y="336166"/>
                  <a:pt x="141900" y="336240"/>
                </a:cubicBezTo>
                <a:cubicBezTo>
                  <a:pt x="148701" y="336240"/>
                  <a:pt x="154258" y="331088"/>
                  <a:pt x="154421" y="324633"/>
                </a:cubicBezTo>
                <a:cubicBezTo>
                  <a:pt x="154583" y="318071"/>
                  <a:pt x="149109" y="312621"/>
                  <a:pt x="142191" y="312467"/>
                </a:cubicBezTo>
                <a:close/>
                <a:moveTo>
                  <a:pt x="0" y="0"/>
                </a:moveTo>
                <a:lnTo>
                  <a:pt x="3708000" y="0"/>
                </a:lnTo>
                <a:lnTo>
                  <a:pt x="3708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75" name="Dots">
            <a:extLst>
              <a:ext uri="{FF2B5EF4-FFF2-40B4-BE49-F238E27FC236}">
                <a16:creationId xmlns:a16="http://schemas.microsoft.com/office/drawing/2014/main" id="{2E3B1537-5542-4DE2-9E35-373E9D811F5A}"/>
              </a:ext>
            </a:extLst>
          </p:cNvPr>
          <p:cNvSpPr/>
          <p:nvPr userDrawn="1"/>
        </p:nvSpPr>
        <p:spPr>
          <a:xfrm rot="16200000">
            <a:off x="3783671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>
              <a:latin typeface="Arial" panose="020B0604020202020204" pitchFamily="34" charset="0"/>
            </a:endParaRPr>
          </a:p>
        </p:txBody>
      </p:sp>
      <p:grpSp>
        <p:nvGrpSpPr>
          <p:cNvPr id="11" name="Graphic 19">
            <a:extLst>
              <a:ext uri="{FF2B5EF4-FFF2-40B4-BE49-F238E27FC236}">
                <a16:creationId xmlns:a16="http://schemas.microsoft.com/office/drawing/2014/main" id="{E1AED2E5-EACC-4379-8B86-BDCC33C414F2}"/>
              </a:ext>
            </a:extLst>
          </p:cNvPr>
          <p:cNvGrpSpPr/>
          <p:nvPr/>
        </p:nvGrpSpPr>
        <p:grpSpPr>
          <a:xfrm>
            <a:off x="571126" y="4482250"/>
            <a:ext cx="1535077" cy="256610"/>
            <a:chOff x="301852" y="4913727"/>
            <a:chExt cx="487916" cy="81562"/>
          </a:xfrm>
          <a:solidFill>
            <a:schemeClr val="bg1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6BA168-9CE4-44AB-B941-D8DA4F05E79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C94091C-6139-4AFE-89FC-2B31F67136BA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373ACD1-A8F0-4238-BB65-845CC0309217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567C362-E84E-440A-8FB1-AEE702C8EE7E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294458EE-BAB5-4F5D-8AD0-E3DCB92505A2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77978A7-70C7-4F30-927E-37994B0EC79F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B868A66-D56A-4AE3-B9EB-8DA8B77CCAE9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A65657E-3350-49C4-80F1-230CA744F304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7EA226B-3CD7-4150-951D-C7E8373D179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5910130-9080-4F24-B7C6-72FEB75AD2CD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C84E3B8-A874-464A-9343-39D84B674DC7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2C8E9EB-3D75-4469-B770-80DA62F0B1DA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D489DD3-7B6F-4BB5-B7A3-F00CCFB28C8E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6E3C15-90E3-49A7-B611-6558D0D1043A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B95DFB8-9A64-4C6F-A877-531F37AD0F20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26215F6-3A3D-44A7-8588-FB218EE36DC1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C6B71A1-9996-4901-B9D3-54FC81E74F1A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1D2AC48-6726-4552-87BB-E6D57D78A20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DA4CC45-8BAB-4AE6-B09B-2C920E8D1F09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B5DD9E6-B7AC-48D1-8849-FD3548138D28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261" y="231777"/>
            <a:ext cx="4104000" cy="2583344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A3928A5-23A9-42AB-BE2A-254DDB2EE1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6261" y="2933271"/>
            <a:ext cx="4104000" cy="1008000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add sub title</a:t>
            </a:r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2B055659-967E-4FB4-B761-219916CE0D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1" y="3958762"/>
            <a:ext cx="4104000" cy="36512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rgbClr val="EACBBB"/>
                </a:solidFill>
              </a:defRPr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US"/>
              <a:t>Click to add date and/or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641340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3273091" cy="1439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for example Agenda</a:t>
            </a:r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A9A9A9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35" name="Dots">
            <a:extLst>
              <a:ext uri="{FF2B5EF4-FFF2-40B4-BE49-F238E27FC236}">
                <a16:creationId xmlns:a16="http://schemas.microsoft.com/office/drawing/2014/main" id="{7EB53862-94DA-442E-9BA3-F56AE08555A8}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93DDC7-6347-4E7C-80D6-CA23706A06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87788" y="231774"/>
            <a:ext cx="3276600" cy="4680000"/>
          </a:xfrm>
        </p:spPr>
        <p:txBody>
          <a:bodyPr anchor="ctr"/>
          <a:lstStyle>
            <a:lvl1pPr marL="239707" indent="-239707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tx2"/>
                </a:solidFill>
              </a:defRPr>
            </a:lvl1pPr>
            <a:lvl2pPr marL="407978" indent="-173034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tx2"/>
                </a:solidFill>
              </a:defRPr>
            </a:lvl2pPr>
            <a:lvl3pPr marL="587360" indent="-174621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tx2"/>
                </a:solidFill>
              </a:defRPr>
            </a:lvl3pPr>
            <a:lvl4pPr marL="768331" indent="-188909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tx2"/>
                </a:solidFill>
              </a:defRPr>
            </a:lvl4pPr>
            <a:lvl5pPr marL="946127" indent="-177796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DC43ACE-919E-4F14-B57A-476B078BDAD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8C85202-0B59-48F2-8674-991A71F862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C77536-C884-4A81-AE68-002872FF97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713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3" pos="4513">
          <p15:clr>
            <a:srgbClr val="FBAE40"/>
          </p15:clr>
        </p15:guide>
        <p15:guide id="4" pos="2245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3273091" cy="1439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 for example Agenda</a:t>
            </a:r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35" name="Dots">
            <a:extLst>
              <a:ext uri="{FF2B5EF4-FFF2-40B4-BE49-F238E27FC236}">
                <a16:creationId xmlns:a16="http://schemas.microsoft.com/office/drawing/2014/main" id="{7EB53862-94DA-442E-9BA3-F56AE08555A8}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93DDC7-6347-4E7C-80D6-CA23706A06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87788" y="231774"/>
            <a:ext cx="3276600" cy="4680000"/>
          </a:xfrm>
        </p:spPr>
        <p:txBody>
          <a:bodyPr anchor="ctr"/>
          <a:lstStyle>
            <a:lvl1pPr marL="239707" indent="-239707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407978" indent="-173034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2pPr>
            <a:lvl3pPr marL="587360" indent="-174621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768331" indent="-188909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946127" indent="-177796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DC43ACE-919E-4F14-B57A-476B078BDAD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8C85202-0B59-48F2-8674-991A71F862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C77536-C884-4A81-AE68-002872FF97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943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3" pos="4513">
          <p15:clr>
            <a:srgbClr val="FBAE40"/>
          </p15:clr>
        </p15:guide>
        <p15:guide id="4" pos="2245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bg>
      <p:bgPr>
        <a:solidFill>
          <a:schemeClr val="accent4">
            <a:alpha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3273091" cy="1439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 for example Agenda</a:t>
            </a:r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C4C1BE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35" name="Dots">
            <a:extLst>
              <a:ext uri="{FF2B5EF4-FFF2-40B4-BE49-F238E27FC236}">
                <a16:creationId xmlns:a16="http://schemas.microsoft.com/office/drawing/2014/main" id="{7EB53862-94DA-442E-9BA3-F56AE08555A8}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6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93DDC7-6347-4E7C-80D6-CA23706A06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87788" y="231774"/>
            <a:ext cx="3276600" cy="4680000"/>
          </a:xfrm>
        </p:spPr>
        <p:txBody>
          <a:bodyPr anchor="ctr"/>
          <a:lstStyle>
            <a:lvl1pPr marL="239707" indent="-239707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407978" indent="-173034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2pPr>
            <a:lvl3pPr marL="587360" indent="-174621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768331" indent="-188909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946127" indent="-177796">
              <a:buClr>
                <a:schemeClr val="accent6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DC43ACE-919E-4F14-B57A-476B078BDAD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C4C1BE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8C85202-0B59-48F2-8674-991A71F862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C4C1BE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C77536-C884-4A81-AE68-002872FF97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C4C1BE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724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3" pos="4513">
          <p15:clr>
            <a:srgbClr val="FBAE40"/>
          </p15:clr>
        </p15:guide>
        <p15:guide id="4" pos="2245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s slide 1">
    <p:bg>
      <p:bgPr>
        <a:solidFill>
          <a:schemeClr val="accent3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6A2EB4F0-1242-4B37-82D8-85D39CC7DC7D}"/>
              </a:ext>
            </a:extLst>
          </p:cNvPr>
          <p:cNvSpPr/>
          <p:nvPr userDrawn="1"/>
        </p:nvSpPr>
        <p:spPr>
          <a:xfrm>
            <a:off x="5943600" y="1078087"/>
            <a:ext cx="2462674" cy="32675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31" name="Picture Placeholder 58">
            <a:extLst>
              <a:ext uri="{FF2B5EF4-FFF2-40B4-BE49-F238E27FC236}">
                <a16:creationId xmlns:a16="http://schemas.microsoft.com/office/drawing/2014/main" id="{1CA0517D-045A-4564-9B4D-F22051D254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15026" y="1050926"/>
            <a:ext cx="2524125" cy="3338513"/>
          </a:xfrm>
          <a:custGeom>
            <a:avLst/>
            <a:gdLst>
              <a:gd name="connsiteX0" fmla="*/ 2313456 w 2524125"/>
              <a:gd name="connsiteY0" fmla="*/ 433154 h 3338513"/>
              <a:gd name="connsiteX1" fmla="*/ 2300590 w 2524125"/>
              <a:gd name="connsiteY1" fmla="*/ 444804 h 3338513"/>
              <a:gd name="connsiteX2" fmla="*/ 2300590 w 2524125"/>
              <a:gd name="connsiteY2" fmla="*/ 444851 h 3338513"/>
              <a:gd name="connsiteX3" fmla="*/ 2313116 w 2524125"/>
              <a:gd name="connsiteY3" fmla="*/ 457021 h 3338513"/>
              <a:gd name="connsiteX4" fmla="*/ 2325735 w 2524125"/>
              <a:gd name="connsiteY4" fmla="*/ 445366 h 3338513"/>
              <a:gd name="connsiteX5" fmla="*/ 2313456 w 2524125"/>
              <a:gd name="connsiteY5" fmla="*/ 433154 h 3338513"/>
              <a:gd name="connsiteX6" fmla="*/ 2012929 w 2524125"/>
              <a:gd name="connsiteY6" fmla="*/ 421597 h 3338513"/>
              <a:gd name="connsiteX7" fmla="*/ 1987197 w 2524125"/>
              <a:gd name="connsiteY7" fmla="*/ 444805 h 3338513"/>
              <a:gd name="connsiteX8" fmla="*/ 1987197 w 2524125"/>
              <a:gd name="connsiteY8" fmla="*/ 444855 h 3338513"/>
              <a:gd name="connsiteX9" fmla="*/ 2012299 w 2524125"/>
              <a:gd name="connsiteY9" fmla="*/ 469238 h 3338513"/>
              <a:gd name="connsiteX10" fmla="*/ 2037385 w 2524125"/>
              <a:gd name="connsiteY10" fmla="*/ 446021 h 3338513"/>
              <a:gd name="connsiteX11" fmla="*/ 2012929 w 2524125"/>
              <a:gd name="connsiteY11" fmla="*/ 421597 h 3338513"/>
              <a:gd name="connsiteX12" fmla="*/ 2313795 w 2524125"/>
              <a:gd name="connsiteY12" fmla="*/ 128671 h 3338513"/>
              <a:gd name="connsiteX13" fmla="*/ 2288063 w 2524125"/>
              <a:gd name="connsiteY13" fmla="*/ 151879 h 3338513"/>
              <a:gd name="connsiteX14" fmla="*/ 2288063 w 2524125"/>
              <a:gd name="connsiteY14" fmla="*/ 151882 h 3338513"/>
              <a:gd name="connsiteX15" fmla="*/ 2313114 w 2524125"/>
              <a:gd name="connsiteY15" fmla="*/ 176312 h 3338513"/>
              <a:gd name="connsiteX16" fmla="*/ 2338250 w 2524125"/>
              <a:gd name="connsiteY16" fmla="*/ 153095 h 3338513"/>
              <a:gd name="connsiteX17" fmla="*/ 2313795 w 2524125"/>
              <a:gd name="connsiteY17" fmla="*/ 128671 h 3338513"/>
              <a:gd name="connsiteX18" fmla="*/ 1712068 w 2524125"/>
              <a:gd name="connsiteY18" fmla="*/ 128107 h 3338513"/>
              <a:gd name="connsiteX19" fmla="*/ 1686381 w 2524125"/>
              <a:gd name="connsiteY19" fmla="*/ 151367 h 3338513"/>
              <a:gd name="connsiteX20" fmla="*/ 1711481 w 2524125"/>
              <a:gd name="connsiteY20" fmla="*/ 175753 h 3338513"/>
              <a:gd name="connsiteX21" fmla="*/ 1736567 w 2524125"/>
              <a:gd name="connsiteY21" fmla="*/ 152490 h 3338513"/>
              <a:gd name="connsiteX22" fmla="*/ 1712068 w 2524125"/>
              <a:gd name="connsiteY22" fmla="*/ 128107 h 3338513"/>
              <a:gd name="connsiteX23" fmla="*/ 2013270 w 2524125"/>
              <a:gd name="connsiteY23" fmla="*/ 117112 h 3338513"/>
              <a:gd name="connsiteX24" fmla="*/ 1974671 w 2524125"/>
              <a:gd name="connsiteY24" fmla="*/ 151878 h 3338513"/>
              <a:gd name="connsiteX25" fmla="*/ 1974671 w 2524125"/>
              <a:gd name="connsiteY25" fmla="*/ 151882 h 3338513"/>
              <a:gd name="connsiteX26" fmla="*/ 2012299 w 2524125"/>
              <a:gd name="connsiteY26" fmla="*/ 188528 h 3338513"/>
              <a:gd name="connsiteX27" fmla="*/ 2049901 w 2524125"/>
              <a:gd name="connsiteY27" fmla="*/ 153750 h 3338513"/>
              <a:gd name="connsiteX28" fmla="*/ 2013270 w 2524125"/>
              <a:gd name="connsiteY28" fmla="*/ 117112 h 3338513"/>
              <a:gd name="connsiteX29" fmla="*/ 0 w 2524125"/>
              <a:gd name="connsiteY29" fmla="*/ 0 h 3338513"/>
              <a:gd name="connsiteX30" fmla="*/ 2524125 w 2524125"/>
              <a:gd name="connsiteY30" fmla="*/ 0 h 3338513"/>
              <a:gd name="connsiteX31" fmla="*/ 2524125 w 2524125"/>
              <a:gd name="connsiteY31" fmla="*/ 3338513 h 3338513"/>
              <a:gd name="connsiteX32" fmla="*/ 0 w 2524125"/>
              <a:gd name="connsiteY32" fmla="*/ 3338513 h 3338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524125" h="3338513">
                <a:moveTo>
                  <a:pt x="2313456" y="433154"/>
                </a:moveTo>
                <a:cubicBezTo>
                  <a:pt x="2306512" y="432999"/>
                  <a:pt x="2300753" y="438214"/>
                  <a:pt x="2300590" y="444804"/>
                </a:cubicBezTo>
                <a:cubicBezTo>
                  <a:pt x="2300590" y="444819"/>
                  <a:pt x="2300590" y="444837"/>
                  <a:pt x="2300590" y="444851"/>
                </a:cubicBezTo>
                <a:cubicBezTo>
                  <a:pt x="2300506" y="451498"/>
                  <a:pt x="2306118" y="456946"/>
                  <a:pt x="2313116" y="457021"/>
                </a:cubicBezTo>
                <a:cubicBezTo>
                  <a:pt x="2319966" y="457045"/>
                  <a:pt x="2325572" y="451863"/>
                  <a:pt x="2325735" y="445366"/>
                </a:cubicBezTo>
                <a:cubicBezTo>
                  <a:pt x="2325898" y="438776"/>
                  <a:pt x="2320399" y="433308"/>
                  <a:pt x="2313456" y="433154"/>
                </a:cubicBezTo>
                <a:close/>
                <a:moveTo>
                  <a:pt x="2012929" y="421597"/>
                </a:moveTo>
                <a:cubicBezTo>
                  <a:pt x="1999072" y="421259"/>
                  <a:pt x="1987552" y="431651"/>
                  <a:pt x="1987197" y="444805"/>
                </a:cubicBezTo>
                <a:cubicBezTo>
                  <a:pt x="1987197" y="444823"/>
                  <a:pt x="1987197" y="444837"/>
                  <a:pt x="1987197" y="444855"/>
                </a:cubicBezTo>
                <a:cubicBezTo>
                  <a:pt x="1987035" y="458168"/>
                  <a:pt x="1998273" y="469084"/>
                  <a:pt x="2012299" y="469238"/>
                </a:cubicBezTo>
                <a:cubicBezTo>
                  <a:pt x="2025909" y="469234"/>
                  <a:pt x="2037035" y="458936"/>
                  <a:pt x="2037385" y="446021"/>
                </a:cubicBezTo>
                <a:cubicBezTo>
                  <a:pt x="2037735" y="432868"/>
                  <a:pt x="2026791" y="421929"/>
                  <a:pt x="2012929" y="421597"/>
                </a:cubicBezTo>
                <a:close/>
                <a:moveTo>
                  <a:pt x="2313795" y="128671"/>
                </a:moveTo>
                <a:cubicBezTo>
                  <a:pt x="2299937" y="128333"/>
                  <a:pt x="2288417" y="138725"/>
                  <a:pt x="2288063" y="151879"/>
                </a:cubicBezTo>
                <a:cubicBezTo>
                  <a:pt x="2288063" y="151879"/>
                  <a:pt x="2288063" y="151882"/>
                  <a:pt x="2288063" y="151882"/>
                </a:cubicBezTo>
                <a:cubicBezTo>
                  <a:pt x="2287875" y="165195"/>
                  <a:pt x="2299089" y="176134"/>
                  <a:pt x="2313114" y="176312"/>
                </a:cubicBezTo>
                <a:cubicBezTo>
                  <a:pt x="2326745" y="176335"/>
                  <a:pt x="2337900" y="166028"/>
                  <a:pt x="2338250" y="153095"/>
                </a:cubicBezTo>
                <a:cubicBezTo>
                  <a:pt x="2338600" y="139942"/>
                  <a:pt x="2327657" y="129003"/>
                  <a:pt x="2313795" y="128671"/>
                </a:cubicBezTo>
                <a:close/>
                <a:moveTo>
                  <a:pt x="1712068" y="128107"/>
                </a:moveTo>
                <a:cubicBezTo>
                  <a:pt x="1698205" y="127798"/>
                  <a:pt x="1686706" y="138213"/>
                  <a:pt x="1686381" y="151367"/>
                </a:cubicBezTo>
                <a:cubicBezTo>
                  <a:pt x="1686242" y="164670"/>
                  <a:pt x="1697466" y="175576"/>
                  <a:pt x="1711481" y="175753"/>
                </a:cubicBezTo>
                <a:cubicBezTo>
                  <a:pt x="1725112" y="175749"/>
                  <a:pt x="1736247" y="165423"/>
                  <a:pt x="1736567" y="152490"/>
                </a:cubicBezTo>
                <a:cubicBezTo>
                  <a:pt x="1736893" y="139337"/>
                  <a:pt x="1725925" y="128421"/>
                  <a:pt x="1712068" y="128107"/>
                </a:cubicBezTo>
                <a:close/>
                <a:moveTo>
                  <a:pt x="2013270" y="117112"/>
                </a:moveTo>
                <a:cubicBezTo>
                  <a:pt x="1992499" y="116593"/>
                  <a:pt x="1975214" y="132162"/>
                  <a:pt x="1974671" y="151878"/>
                </a:cubicBezTo>
                <a:cubicBezTo>
                  <a:pt x="1974671" y="151878"/>
                  <a:pt x="1974671" y="151882"/>
                  <a:pt x="1974671" y="151882"/>
                </a:cubicBezTo>
                <a:cubicBezTo>
                  <a:pt x="1974400" y="171864"/>
                  <a:pt x="1991246" y="188270"/>
                  <a:pt x="2012299" y="188528"/>
                </a:cubicBezTo>
                <a:cubicBezTo>
                  <a:pt x="2032690" y="188524"/>
                  <a:pt x="2049364" y="173100"/>
                  <a:pt x="2049901" y="153750"/>
                </a:cubicBezTo>
                <a:cubicBezTo>
                  <a:pt x="2050443" y="134034"/>
                  <a:pt x="2034046" y="117628"/>
                  <a:pt x="2013270" y="117112"/>
                </a:cubicBezTo>
                <a:close/>
                <a:moveTo>
                  <a:pt x="0" y="0"/>
                </a:moveTo>
                <a:lnTo>
                  <a:pt x="2524125" y="0"/>
                </a:lnTo>
                <a:lnTo>
                  <a:pt x="2524125" y="3338513"/>
                </a:lnTo>
                <a:lnTo>
                  <a:pt x="0" y="333851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9" y="231776"/>
            <a:ext cx="4392923" cy="1882203"/>
          </a:xfrm>
        </p:spPr>
        <p:txBody>
          <a:bodyPr anchor="b"/>
          <a:lstStyle>
            <a:lvl1pPr algn="l"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/>
              <a:t>Speakers nam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A3928A5-23A9-42AB-BE2A-254DDB2EE1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9" y="2130373"/>
            <a:ext cx="4392923" cy="1008000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rgbClr val="655B54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add role title</a:t>
            </a:r>
          </a:p>
        </p:txBody>
      </p:sp>
      <p:grpSp>
        <p:nvGrpSpPr>
          <p:cNvPr id="34" name="Graphic 19">
            <a:extLst>
              <a:ext uri="{FF2B5EF4-FFF2-40B4-BE49-F238E27FC236}">
                <a16:creationId xmlns:a16="http://schemas.microsoft.com/office/drawing/2014/main" id="{30CCF508-8A96-414E-9404-07DB1BC1116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F07F829-F6FC-4DF2-90CA-7E0E05E129F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C99CDAA-6B26-4696-95A7-75B99CF0A8D5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49E2DEE-F59C-4F32-839F-23EF943860C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4FECE93-C406-440F-B693-95442BB2B39D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2779207-3649-4476-B022-010AD1C8527D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F519B0A-0299-483D-BAFF-7DB63D01CAF8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2CBB9F8-0686-4E84-A9E1-C36C0BFC789A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0F79D2-7F6D-4A6C-99C4-1197C1C96A4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25792C8-2B0A-4D38-8872-2BA9859CC20C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C6C7FB1-D6C2-4132-87FD-770849F63E7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A97DBC4-3087-4BF9-837F-611C44A4C982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A90523E-2EEF-4C47-8A8E-75151ECB51E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AF56317-AA4A-4D20-98E3-07A50B1DB919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9E2A8E1-D8EA-4D9A-BF79-BBC3C8319030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59C028A-6019-4F31-98BF-64BCC56D005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E578A76-37FF-465B-A2F8-022311982319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A3D30F8-66D8-42FE-A00A-CBC30A14DA93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47D2386-F1CE-4D5D-A178-537E05B7FAA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56E0BFB-980D-49F4-BE48-1D88A88AADB8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B7FACB1-263A-42DA-8964-252FBF1B7141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A9B3A4-EC1D-48FE-AA9D-498A39DEE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B2D188-24CD-4318-B9F6-CDB0F6DA71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7CCF62-5A96-461B-B8BA-E249CAEFF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1" name="Dots">
            <a:extLst>
              <a:ext uri="{FF2B5EF4-FFF2-40B4-BE49-F238E27FC236}">
                <a16:creationId xmlns:a16="http://schemas.microsoft.com/office/drawing/2014/main" id="{4DC8648D-B704-4A1B-92A8-2B5828CECBBD}"/>
              </a:ext>
            </a:extLst>
          </p:cNvPr>
          <p:cNvSpPr/>
          <p:nvPr userDrawn="1"/>
        </p:nvSpPr>
        <p:spPr>
          <a:xfrm rot="16200000">
            <a:off x="7037020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91375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s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CD2B8DDE-141E-47A1-827C-BEBE167408A8}"/>
              </a:ext>
            </a:extLst>
          </p:cNvPr>
          <p:cNvSpPr/>
          <p:nvPr userDrawn="1"/>
        </p:nvSpPr>
        <p:spPr>
          <a:xfrm>
            <a:off x="5943600" y="1078087"/>
            <a:ext cx="2462674" cy="32675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9" y="231776"/>
            <a:ext cx="4392923" cy="1882203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Speakers nam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A3928A5-23A9-42AB-BE2A-254DDB2EE1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9" y="2130373"/>
            <a:ext cx="4392923" cy="1008000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rgbClr val="EACBBB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add role title</a:t>
            </a:r>
          </a:p>
        </p:txBody>
      </p:sp>
      <p:grpSp>
        <p:nvGrpSpPr>
          <p:cNvPr id="34" name="Graphic 19">
            <a:extLst>
              <a:ext uri="{FF2B5EF4-FFF2-40B4-BE49-F238E27FC236}">
                <a16:creationId xmlns:a16="http://schemas.microsoft.com/office/drawing/2014/main" id="{30CCF508-8A96-414E-9404-07DB1BC1116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F07F829-F6FC-4DF2-90CA-7E0E05E129F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C99CDAA-6B26-4696-95A7-75B99CF0A8D5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49E2DEE-F59C-4F32-839F-23EF943860C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4FECE93-C406-440F-B693-95442BB2B39D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2779207-3649-4476-B022-010AD1C8527D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F519B0A-0299-483D-BAFF-7DB63D01CAF8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2CBB9F8-0686-4E84-A9E1-C36C0BFC789A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0F79D2-7F6D-4A6C-99C4-1197C1C96A4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25792C8-2B0A-4D38-8872-2BA9859CC20C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C6C7FB1-D6C2-4132-87FD-770849F63E7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A97DBC4-3087-4BF9-837F-611C44A4C982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A90523E-2EEF-4C47-8A8E-75151ECB51E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AF56317-AA4A-4D20-98E3-07A50B1DB919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9E2A8E1-D8EA-4D9A-BF79-BBC3C8319030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59C028A-6019-4F31-98BF-64BCC56D005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E578A76-37FF-465B-A2F8-022311982319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A3D30F8-66D8-42FE-A00A-CBC30A14DA93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47D2386-F1CE-4D5D-A178-537E05B7FAA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56E0BFB-980D-49F4-BE48-1D88A88AADB8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B7FACB1-263A-42DA-8964-252FBF1B7141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A9B3A4-EC1D-48FE-AA9D-498A39DEE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B2D188-24CD-4318-B9F6-CDB0F6DA71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7CCF62-5A96-461B-B8BA-E249CAEFF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ED1BA532-3110-40F8-A761-D6129FF3DF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15026" y="1050926"/>
            <a:ext cx="2524125" cy="3338513"/>
          </a:xfrm>
          <a:custGeom>
            <a:avLst/>
            <a:gdLst>
              <a:gd name="connsiteX0" fmla="*/ 2313456 w 2524125"/>
              <a:gd name="connsiteY0" fmla="*/ 433154 h 3338513"/>
              <a:gd name="connsiteX1" fmla="*/ 2300590 w 2524125"/>
              <a:gd name="connsiteY1" fmla="*/ 444804 h 3338513"/>
              <a:gd name="connsiteX2" fmla="*/ 2300590 w 2524125"/>
              <a:gd name="connsiteY2" fmla="*/ 444851 h 3338513"/>
              <a:gd name="connsiteX3" fmla="*/ 2313116 w 2524125"/>
              <a:gd name="connsiteY3" fmla="*/ 457021 h 3338513"/>
              <a:gd name="connsiteX4" fmla="*/ 2325735 w 2524125"/>
              <a:gd name="connsiteY4" fmla="*/ 445366 h 3338513"/>
              <a:gd name="connsiteX5" fmla="*/ 2313456 w 2524125"/>
              <a:gd name="connsiteY5" fmla="*/ 433154 h 3338513"/>
              <a:gd name="connsiteX6" fmla="*/ 2012929 w 2524125"/>
              <a:gd name="connsiteY6" fmla="*/ 421597 h 3338513"/>
              <a:gd name="connsiteX7" fmla="*/ 1987197 w 2524125"/>
              <a:gd name="connsiteY7" fmla="*/ 444805 h 3338513"/>
              <a:gd name="connsiteX8" fmla="*/ 1987197 w 2524125"/>
              <a:gd name="connsiteY8" fmla="*/ 444855 h 3338513"/>
              <a:gd name="connsiteX9" fmla="*/ 2012299 w 2524125"/>
              <a:gd name="connsiteY9" fmla="*/ 469238 h 3338513"/>
              <a:gd name="connsiteX10" fmla="*/ 2037385 w 2524125"/>
              <a:gd name="connsiteY10" fmla="*/ 446021 h 3338513"/>
              <a:gd name="connsiteX11" fmla="*/ 2012929 w 2524125"/>
              <a:gd name="connsiteY11" fmla="*/ 421597 h 3338513"/>
              <a:gd name="connsiteX12" fmla="*/ 2313795 w 2524125"/>
              <a:gd name="connsiteY12" fmla="*/ 128671 h 3338513"/>
              <a:gd name="connsiteX13" fmla="*/ 2288063 w 2524125"/>
              <a:gd name="connsiteY13" fmla="*/ 151879 h 3338513"/>
              <a:gd name="connsiteX14" fmla="*/ 2288063 w 2524125"/>
              <a:gd name="connsiteY14" fmla="*/ 151882 h 3338513"/>
              <a:gd name="connsiteX15" fmla="*/ 2313114 w 2524125"/>
              <a:gd name="connsiteY15" fmla="*/ 176312 h 3338513"/>
              <a:gd name="connsiteX16" fmla="*/ 2338250 w 2524125"/>
              <a:gd name="connsiteY16" fmla="*/ 153095 h 3338513"/>
              <a:gd name="connsiteX17" fmla="*/ 2313795 w 2524125"/>
              <a:gd name="connsiteY17" fmla="*/ 128671 h 3338513"/>
              <a:gd name="connsiteX18" fmla="*/ 1712068 w 2524125"/>
              <a:gd name="connsiteY18" fmla="*/ 128107 h 3338513"/>
              <a:gd name="connsiteX19" fmla="*/ 1686381 w 2524125"/>
              <a:gd name="connsiteY19" fmla="*/ 151367 h 3338513"/>
              <a:gd name="connsiteX20" fmla="*/ 1711481 w 2524125"/>
              <a:gd name="connsiteY20" fmla="*/ 175753 h 3338513"/>
              <a:gd name="connsiteX21" fmla="*/ 1736567 w 2524125"/>
              <a:gd name="connsiteY21" fmla="*/ 152490 h 3338513"/>
              <a:gd name="connsiteX22" fmla="*/ 1712068 w 2524125"/>
              <a:gd name="connsiteY22" fmla="*/ 128107 h 3338513"/>
              <a:gd name="connsiteX23" fmla="*/ 2013270 w 2524125"/>
              <a:gd name="connsiteY23" fmla="*/ 117112 h 3338513"/>
              <a:gd name="connsiteX24" fmla="*/ 1974671 w 2524125"/>
              <a:gd name="connsiteY24" fmla="*/ 151878 h 3338513"/>
              <a:gd name="connsiteX25" fmla="*/ 1974671 w 2524125"/>
              <a:gd name="connsiteY25" fmla="*/ 151882 h 3338513"/>
              <a:gd name="connsiteX26" fmla="*/ 2012299 w 2524125"/>
              <a:gd name="connsiteY26" fmla="*/ 188528 h 3338513"/>
              <a:gd name="connsiteX27" fmla="*/ 2049901 w 2524125"/>
              <a:gd name="connsiteY27" fmla="*/ 153750 h 3338513"/>
              <a:gd name="connsiteX28" fmla="*/ 2013270 w 2524125"/>
              <a:gd name="connsiteY28" fmla="*/ 117112 h 3338513"/>
              <a:gd name="connsiteX29" fmla="*/ 0 w 2524125"/>
              <a:gd name="connsiteY29" fmla="*/ 0 h 3338513"/>
              <a:gd name="connsiteX30" fmla="*/ 2524125 w 2524125"/>
              <a:gd name="connsiteY30" fmla="*/ 0 h 3338513"/>
              <a:gd name="connsiteX31" fmla="*/ 2524125 w 2524125"/>
              <a:gd name="connsiteY31" fmla="*/ 3338513 h 3338513"/>
              <a:gd name="connsiteX32" fmla="*/ 0 w 2524125"/>
              <a:gd name="connsiteY32" fmla="*/ 3338513 h 3338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524125" h="3338513">
                <a:moveTo>
                  <a:pt x="2313456" y="433154"/>
                </a:moveTo>
                <a:cubicBezTo>
                  <a:pt x="2306512" y="432999"/>
                  <a:pt x="2300753" y="438214"/>
                  <a:pt x="2300590" y="444804"/>
                </a:cubicBezTo>
                <a:cubicBezTo>
                  <a:pt x="2300590" y="444819"/>
                  <a:pt x="2300590" y="444837"/>
                  <a:pt x="2300590" y="444851"/>
                </a:cubicBezTo>
                <a:cubicBezTo>
                  <a:pt x="2300506" y="451498"/>
                  <a:pt x="2306118" y="456946"/>
                  <a:pt x="2313116" y="457021"/>
                </a:cubicBezTo>
                <a:cubicBezTo>
                  <a:pt x="2319966" y="457045"/>
                  <a:pt x="2325572" y="451863"/>
                  <a:pt x="2325735" y="445366"/>
                </a:cubicBezTo>
                <a:cubicBezTo>
                  <a:pt x="2325898" y="438776"/>
                  <a:pt x="2320399" y="433308"/>
                  <a:pt x="2313456" y="433154"/>
                </a:cubicBezTo>
                <a:close/>
                <a:moveTo>
                  <a:pt x="2012929" y="421597"/>
                </a:moveTo>
                <a:cubicBezTo>
                  <a:pt x="1999072" y="421259"/>
                  <a:pt x="1987552" y="431651"/>
                  <a:pt x="1987197" y="444805"/>
                </a:cubicBezTo>
                <a:cubicBezTo>
                  <a:pt x="1987197" y="444823"/>
                  <a:pt x="1987197" y="444837"/>
                  <a:pt x="1987197" y="444855"/>
                </a:cubicBezTo>
                <a:cubicBezTo>
                  <a:pt x="1987035" y="458168"/>
                  <a:pt x="1998273" y="469084"/>
                  <a:pt x="2012299" y="469238"/>
                </a:cubicBezTo>
                <a:cubicBezTo>
                  <a:pt x="2025909" y="469234"/>
                  <a:pt x="2037035" y="458936"/>
                  <a:pt x="2037385" y="446021"/>
                </a:cubicBezTo>
                <a:cubicBezTo>
                  <a:pt x="2037735" y="432868"/>
                  <a:pt x="2026791" y="421929"/>
                  <a:pt x="2012929" y="421597"/>
                </a:cubicBezTo>
                <a:close/>
                <a:moveTo>
                  <a:pt x="2313795" y="128671"/>
                </a:moveTo>
                <a:cubicBezTo>
                  <a:pt x="2299937" y="128333"/>
                  <a:pt x="2288417" y="138725"/>
                  <a:pt x="2288063" y="151879"/>
                </a:cubicBezTo>
                <a:cubicBezTo>
                  <a:pt x="2288063" y="151879"/>
                  <a:pt x="2288063" y="151882"/>
                  <a:pt x="2288063" y="151882"/>
                </a:cubicBezTo>
                <a:cubicBezTo>
                  <a:pt x="2287875" y="165195"/>
                  <a:pt x="2299089" y="176134"/>
                  <a:pt x="2313114" y="176312"/>
                </a:cubicBezTo>
                <a:cubicBezTo>
                  <a:pt x="2326745" y="176335"/>
                  <a:pt x="2337900" y="166028"/>
                  <a:pt x="2338250" y="153095"/>
                </a:cubicBezTo>
                <a:cubicBezTo>
                  <a:pt x="2338600" y="139942"/>
                  <a:pt x="2327657" y="129003"/>
                  <a:pt x="2313795" y="128671"/>
                </a:cubicBezTo>
                <a:close/>
                <a:moveTo>
                  <a:pt x="1712068" y="128107"/>
                </a:moveTo>
                <a:cubicBezTo>
                  <a:pt x="1698205" y="127798"/>
                  <a:pt x="1686706" y="138213"/>
                  <a:pt x="1686381" y="151367"/>
                </a:cubicBezTo>
                <a:cubicBezTo>
                  <a:pt x="1686242" y="164670"/>
                  <a:pt x="1697466" y="175576"/>
                  <a:pt x="1711481" y="175753"/>
                </a:cubicBezTo>
                <a:cubicBezTo>
                  <a:pt x="1725112" y="175749"/>
                  <a:pt x="1736247" y="165423"/>
                  <a:pt x="1736567" y="152490"/>
                </a:cubicBezTo>
                <a:cubicBezTo>
                  <a:pt x="1736893" y="139337"/>
                  <a:pt x="1725925" y="128421"/>
                  <a:pt x="1712068" y="128107"/>
                </a:cubicBezTo>
                <a:close/>
                <a:moveTo>
                  <a:pt x="2013270" y="117112"/>
                </a:moveTo>
                <a:cubicBezTo>
                  <a:pt x="1992499" y="116593"/>
                  <a:pt x="1975214" y="132162"/>
                  <a:pt x="1974671" y="151878"/>
                </a:cubicBezTo>
                <a:cubicBezTo>
                  <a:pt x="1974671" y="151878"/>
                  <a:pt x="1974671" y="151882"/>
                  <a:pt x="1974671" y="151882"/>
                </a:cubicBezTo>
                <a:cubicBezTo>
                  <a:pt x="1974400" y="171864"/>
                  <a:pt x="1991246" y="188270"/>
                  <a:pt x="2012299" y="188528"/>
                </a:cubicBezTo>
                <a:cubicBezTo>
                  <a:pt x="2032690" y="188524"/>
                  <a:pt x="2049364" y="173100"/>
                  <a:pt x="2049901" y="153750"/>
                </a:cubicBezTo>
                <a:cubicBezTo>
                  <a:pt x="2050443" y="134034"/>
                  <a:pt x="2034046" y="117628"/>
                  <a:pt x="2013270" y="117112"/>
                </a:cubicBezTo>
                <a:close/>
                <a:moveTo>
                  <a:pt x="0" y="0"/>
                </a:moveTo>
                <a:lnTo>
                  <a:pt x="2524125" y="0"/>
                </a:lnTo>
                <a:lnTo>
                  <a:pt x="2524125" y="3338513"/>
                </a:lnTo>
                <a:lnTo>
                  <a:pt x="0" y="333851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4" name="Dots">
            <a:extLst>
              <a:ext uri="{FF2B5EF4-FFF2-40B4-BE49-F238E27FC236}">
                <a16:creationId xmlns:a16="http://schemas.microsoft.com/office/drawing/2014/main" id="{6756FC10-BA1F-4145-A18C-32CA39246229}"/>
              </a:ext>
            </a:extLst>
          </p:cNvPr>
          <p:cNvSpPr/>
          <p:nvPr userDrawn="1"/>
        </p:nvSpPr>
        <p:spPr>
          <a:xfrm rot="16200000">
            <a:off x="7037020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7991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5"/>
            <a:ext cx="3924300" cy="1439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chapter number an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6B92CC9-D409-4CA2-BC27-3B3C472F90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27934" y="309265"/>
            <a:ext cx="2710869" cy="2710869"/>
          </a:xfrm>
          <a:prstGeom prst="rect">
            <a:avLst/>
          </a:prstGeom>
        </p:spPr>
      </p:pic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146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2">
    <p:bg>
      <p:bgPr>
        <a:solidFill>
          <a:srgbClr val="E5E5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5"/>
            <a:ext cx="3924300" cy="1439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chapter number an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A9A9A9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A9A9A9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9A9A9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A9A9A9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pic>
        <p:nvPicPr>
          <p:cNvPr id="34" name="Graphic 33">
            <a:extLst>
              <a:ext uri="{FF2B5EF4-FFF2-40B4-BE49-F238E27FC236}">
                <a16:creationId xmlns:a16="http://schemas.microsoft.com/office/drawing/2014/main" id="{85E3058E-DF72-4531-BC6D-103DA984DB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18643" y="299811"/>
            <a:ext cx="2725548" cy="2725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357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bg>
      <p:bgPr>
        <a:solidFill>
          <a:schemeClr val="accent6">
            <a:alpha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1851819"/>
            <a:ext cx="3273091" cy="1439863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 for example Agenda</a:t>
            </a:r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C4C1BE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5" name="Dots">
            <a:extLst>
              <a:ext uri="{FF2B5EF4-FFF2-40B4-BE49-F238E27FC236}">
                <a16:creationId xmlns:a16="http://schemas.microsoft.com/office/drawing/2014/main" id="{7EB53862-94DA-442E-9BA3-F56AE08555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7037018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rgbClr val="E9EC6B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93DDC7-6347-4E7C-80D6-CA23706A06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87788" y="231774"/>
            <a:ext cx="3276600" cy="4680000"/>
          </a:xfrm>
        </p:spPr>
        <p:txBody>
          <a:bodyPr anchor="ctr"/>
          <a:lstStyle>
            <a:lvl1pPr marL="239713" indent="-239713">
              <a:buClr>
                <a:srgbClr val="E9EC6B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407988" indent="-173038">
              <a:buClr>
                <a:srgbClr val="E9EC6B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2pPr>
            <a:lvl3pPr marL="587375" indent="-174625">
              <a:buClr>
                <a:srgbClr val="E9EC6B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 marL="768350" indent="-188913">
              <a:buClr>
                <a:srgbClr val="E9EC6B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 marL="946150" indent="-177800">
              <a:buClr>
                <a:srgbClr val="E9EC6B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DC43ACE-919E-4F14-B57A-476B078BDAD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C4C1BE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08C85202-0B59-48F2-8674-991A71F862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C4C1BE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C77536-C884-4A81-AE68-002872FF97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C4C1BE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4498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3" pos="4513">
          <p15:clr>
            <a:srgbClr val="FBAE40"/>
          </p15:clr>
        </p15:guide>
        <p15:guide id="4" pos="2245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3">
    <p:bg>
      <p:bgPr>
        <a:solidFill>
          <a:srgbClr val="EACBBB">
            <a:alpha val="93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5"/>
            <a:ext cx="3924300" cy="1439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chapter number an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EB59F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EB59F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DEB59F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6B92CC9-D409-4CA2-BC27-3B3C472F90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27934" y="309265"/>
            <a:ext cx="2710869" cy="2710869"/>
          </a:xfrm>
          <a:prstGeom prst="rect">
            <a:avLst/>
          </a:prstGeom>
        </p:spPr>
      </p:pic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DEB59F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1557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5"/>
            <a:ext cx="3924300" cy="1439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number an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pic>
        <p:nvPicPr>
          <p:cNvPr id="34" name="Graphic 33">
            <a:extLst>
              <a:ext uri="{FF2B5EF4-FFF2-40B4-BE49-F238E27FC236}">
                <a16:creationId xmlns:a16="http://schemas.microsoft.com/office/drawing/2014/main" id="{85E3058E-DF72-4531-BC6D-103DA984DB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18643" y="299811"/>
            <a:ext cx="2725548" cy="2725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904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5">
    <p:bg>
      <p:bgPr>
        <a:solidFill>
          <a:srgbClr val="EACBBB">
            <a:alpha val="25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55AA8E6-7A46-4092-A3A7-300270FD1A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13418" y="0"/>
            <a:ext cx="3030582" cy="51435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5"/>
            <a:ext cx="3924300" cy="1439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chapter number an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191565" y="4875767"/>
            <a:ext cx="1291279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A9A9A9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29078" y="4875767"/>
            <a:ext cx="316567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A9A9A9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2197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3696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55AA8E6-7A46-4092-A3A7-300270FD1A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13418" y="0"/>
            <a:ext cx="3030582" cy="51435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231775"/>
            <a:ext cx="3924300" cy="1439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number an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02324" y="4875767"/>
            <a:ext cx="1291279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9837" y="4875767"/>
            <a:ext cx="316567" cy="1293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3" name="Graphic 19">
            <a:extLst>
              <a:ext uri="{FF2B5EF4-FFF2-40B4-BE49-F238E27FC236}">
                <a16:creationId xmlns:a16="http://schemas.microsoft.com/office/drawing/2014/main" id="{EDA775F8-93D1-4FFA-87A0-9FD0B3FBDB9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340C11A-D825-4DF3-93F8-40581FDAC183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8FFB176-1CF4-4A5F-A897-BED265EFDCB3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C25D42A-D5B4-41E9-8289-8154A8B23529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52D4C7B-1666-4F0B-820E-FD7E5E80CDB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ED751D-AC71-4B28-AD95-3BFBCF1CBB11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933515D-22FB-48AE-B3EC-6B3012D6971B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C59BF82-4126-4E61-99F3-C18F433C1410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8A76AB-BCD6-4D8A-8E88-47E2FF47F69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6109F58-C435-4269-AA12-0B2D094E008B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81DD395-3A30-48BB-99BB-0E8389AB67E3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8184B4E-02D1-4872-AA7C-AC7050359B88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ECE8D9B-02DE-4693-B22C-53E063EF371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55E902B-7746-45C1-9274-2F2EEE57D68D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5CF3F5E-295F-4C68-90F6-11A90389786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C52AACC-B621-43F6-8FE8-7D402D720786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A812A30-ECCE-4CB5-8AFD-EBD106F2F0CB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9E2C15A-FF9B-439D-B17B-42B5F5119CE8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AF447B-A5E6-4FBF-9699-74B9F196D84B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8E0ECEB-3BE1-43B8-865B-A6713566CB1B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D7D855F-D1AA-474D-88D3-ECFB5AC46403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1213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  <p15:guide id="4" pos="3696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s slide 3">
    <p:bg>
      <p:bgPr>
        <a:solidFill>
          <a:schemeClr val="accent3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9" y="231776"/>
            <a:ext cx="4392923" cy="1882203"/>
          </a:xfrm>
        </p:spPr>
        <p:txBody>
          <a:bodyPr anchor="b"/>
          <a:lstStyle>
            <a:lvl1pPr algn="l"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/>
              <a:t>Speakers nam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A3928A5-23A9-42AB-BE2A-254DDB2EE1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9" y="2130373"/>
            <a:ext cx="4392923" cy="1008000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rgbClr val="655B54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add role title</a:t>
            </a:r>
          </a:p>
        </p:txBody>
      </p:sp>
      <p:grpSp>
        <p:nvGrpSpPr>
          <p:cNvPr id="34" name="Graphic 19">
            <a:extLst>
              <a:ext uri="{FF2B5EF4-FFF2-40B4-BE49-F238E27FC236}">
                <a16:creationId xmlns:a16="http://schemas.microsoft.com/office/drawing/2014/main" id="{30CCF508-8A96-414E-9404-07DB1BC1116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F07F829-F6FC-4DF2-90CA-7E0E05E129F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C99CDAA-6B26-4696-95A7-75B99CF0A8D5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49E2DEE-F59C-4F32-839F-23EF943860C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4FECE93-C406-440F-B693-95442BB2B39D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2779207-3649-4476-B022-010AD1C8527D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F519B0A-0299-483D-BAFF-7DB63D01CAF8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2CBB9F8-0686-4E84-A9E1-C36C0BFC789A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0F79D2-7F6D-4A6C-99C4-1197C1C96A4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25792C8-2B0A-4D38-8872-2BA9859CC20C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C6C7FB1-D6C2-4132-87FD-770849F63E7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A97DBC4-3087-4BF9-837F-611C44A4C982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A90523E-2EEF-4C47-8A8E-75151ECB51E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AF56317-AA4A-4D20-98E3-07A50B1DB919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9E2A8E1-D8EA-4D9A-BF79-BBC3C8319030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59C028A-6019-4F31-98BF-64BCC56D005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E578A76-37FF-465B-A2F8-022311982319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A3D30F8-66D8-42FE-A00A-CBC30A14DA93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47D2386-F1CE-4D5D-A178-537E05B7FAA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56E0BFB-980D-49F4-BE48-1D88A88AADB8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B7FACB1-263A-42DA-8964-252FBF1B7141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A9B3A4-EC1D-48FE-AA9D-498A39DEE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B2D188-24CD-4318-B9F6-CDB0F6DA71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7CCF62-5A96-461B-B8BA-E249CAEFF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2" name="Picture Placeholder 62">
            <a:extLst>
              <a:ext uri="{FF2B5EF4-FFF2-40B4-BE49-F238E27FC236}">
                <a16:creationId xmlns:a16="http://schemas.microsoft.com/office/drawing/2014/main" id="{51DD727F-E43F-4B84-9AF0-3AE3A5A8C3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15026" y="1050926"/>
            <a:ext cx="2524125" cy="33385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449365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s slid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9" y="231776"/>
            <a:ext cx="4392923" cy="1882203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Speakers nam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A3928A5-23A9-42AB-BE2A-254DDB2EE1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9" y="2130373"/>
            <a:ext cx="4392923" cy="1008000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rgbClr val="EACBBB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add role title</a:t>
            </a:r>
          </a:p>
        </p:txBody>
      </p:sp>
      <p:grpSp>
        <p:nvGrpSpPr>
          <p:cNvPr id="34" name="Graphic 19">
            <a:extLst>
              <a:ext uri="{FF2B5EF4-FFF2-40B4-BE49-F238E27FC236}">
                <a16:creationId xmlns:a16="http://schemas.microsoft.com/office/drawing/2014/main" id="{30CCF508-8A96-414E-9404-07DB1BC11164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F07F829-F6FC-4DF2-90CA-7E0E05E129F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C99CDAA-6B26-4696-95A7-75B99CF0A8D5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49E2DEE-F59C-4F32-839F-23EF943860C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4FECE93-C406-440F-B693-95442BB2B39D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2779207-3649-4476-B022-010AD1C8527D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F519B0A-0299-483D-BAFF-7DB63D01CAF8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2CBB9F8-0686-4E84-A9E1-C36C0BFC789A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0F79D2-7F6D-4A6C-99C4-1197C1C96A4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25792C8-2B0A-4D38-8872-2BA9859CC20C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C6C7FB1-D6C2-4132-87FD-770849F63E7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A97DBC4-3087-4BF9-837F-611C44A4C982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A90523E-2EEF-4C47-8A8E-75151ECB51E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AF56317-AA4A-4D20-98E3-07A50B1DB919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9E2A8E1-D8EA-4D9A-BF79-BBC3C8319030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59C028A-6019-4F31-98BF-64BCC56D005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E578A76-37FF-465B-A2F8-022311982319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A3D30F8-66D8-42FE-A00A-CBC30A14DA93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47D2386-F1CE-4D5D-A178-537E05B7FAA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56E0BFB-980D-49F4-BE48-1D88A88AADB8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B7FACB1-263A-42DA-8964-252FBF1B7141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A9B3A4-EC1D-48FE-AA9D-498A39DEE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B2D188-24CD-4318-B9F6-CDB0F6DA71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7CCF62-5A96-461B-B8BA-E249CAEFF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ED1BA532-3110-40F8-A761-D6129FF3DF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15026" y="1050926"/>
            <a:ext cx="2524125" cy="33385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69805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97155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grpSp>
        <p:nvGrpSpPr>
          <p:cNvPr id="10" name="Graphic 19">
            <a:extLst>
              <a:ext uri="{FF2B5EF4-FFF2-40B4-BE49-F238E27FC236}">
                <a16:creationId xmlns:a16="http://schemas.microsoft.com/office/drawing/2014/main" id="{59D87852-F834-409C-B191-0E3DB7829DDA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DF0FC44-919D-4D5C-BEDE-797DF9691A1F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2253D34-D437-45DF-84B9-D1CE60A1D188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40F4A8E-A03D-44B8-8474-1E1C3A2C5F7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FE8BD5B-94B5-4CAD-BE37-5FE1AD4E054A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B76B74-3ECE-4814-94B0-D91AF2A16645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3F50BF5-3D0F-4E32-9548-2354410572D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7BE7FA7-6CA4-4917-9C43-7B3C45C3A74D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EF1529-5969-4764-ADDC-55D2BEFAA9E0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82530C-BFF7-4FFE-89DD-F04656417F4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C00ED5B-069D-4629-9913-B89C79468A99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0DE64EC-1D8A-4A18-AA0D-966EA50380E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DD7AA4-96EE-4BE7-9AA6-FA06015C4658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FFBFE74-5BE0-4D88-9236-1490CB17271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920FB49-B53C-4555-9E94-A490506760C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C284678-601C-4037-8C9A-B5312F4A0C7A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C680057-9F14-40E7-A752-ED40510F485F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13A42F-A8E7-44E3-BB4A-7C763B911329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E738A0-7E88-4E9C-B9B3-96C293DE9CE9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EAB8D02-ECE2-4190-8241-1DF731560355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6C8C16D-3A30-4ADF-A1E1-5E5668E7D70F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9907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97155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0" name="Graphic 19">
            <a:extLst>
              <a:ext uri="{FF2B5EF4-FFF2-40B4-BE49-F238E27FC236}">
                <a16:creationId xmlns:a16="http://schemas.microsoft.com/office/drawing/2014/main" id="{59D87852-F834-409C-B191-0E3DB7829DDA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DF0FC44-919D-4D5C-BEDE-797DF9691A1F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2253D34-D437-45DF-84B9-D1CE60A1D188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40F4A8E-A03D-44B8-8474-1E1C3A2C5F7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FE8BD5B-94B5-4CAD-BE37-5FE1AD4E054A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B76B74-3ECE-4814-94B0-D91AF2A16645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3F50BF5-3D0F-4E32-9548-2354410572D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7BE7FA7-6CA4-4917-9C43-7B3C45C3A74D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EF1529-5969-4764-ADDC-55D2BEFAA9E0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82530C-BFF7-4FFE-89DD-F04656417F4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C00ED5B-069D-4629-9913-B89C79468A99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0DE64EC-1D8A-4A18-AA0D-966EA50380E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DD7AA4-96EE-4BE7-9AA6-FA06015C4658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FFBFE74-5BE0-4D88-9236-1490CB17271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920FB49-B53C-4555-9E94-A490506760C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C284678-601C-4037-8C9A-B5312F4A0C7A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C680057-9F14-40E7-A752-ED40510F485F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13A42F-A8E7-44E3-BB4A-7C763B911329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E738A0-7E88-4E9C-B9B3-96C293DE9CE9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EAB8D02-ECE2-4190-8241-1DF731560355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6C8C16D-3A30-4ADF-A1E1-5E5668E7D70F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0384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3960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0" name="Graphic 19">
            <a:extLst>
              <a:ext uri="{FF2B5EF4-FFF2-40B4-BE49-F238E27FC236}">
                <a16:creationId xmlns:a16="http://schemas.microsoft.com/office/drawing/2014/main" id="{59D87852-F834-409C-B191-0E3DB7829DDA}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DF0FC44-919D-4D5C-BEDE-797DF9691A1F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2253D34-D437-45DF-84B9-D1CE60A1D188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40F4A8E-A03D-44B8-8474-1E1C3A2C5F7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FE8BD5B-94B5-4CAD-BE37-5FE1AD4E054A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B76B74-3ECE-4814-94B0-D91AF2A16645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3F50BF5-3D0F-4E32-9548-2354410572D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7BE7FA7-6CA4-4917-9C43-7B3C45C3A74D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40EF1529-5969-4764-ADDC-55D2BEFAA9E0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82530C-BFF7-4FFE-89DD-F04656417F4E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C00ED5B-069D-4629-9913-B89C79468A99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0DE64EC-1D8A-4A18-AA0D-966EA50380E3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DD7AA4-96EE-4BE7-9AA6-FA06015C4658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FFBFE74-5BE0-4D88-9236-1490CB17271C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920FB49-B53C-4555-9E94-A490506760CC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C284678-601C-4037-8C9A-B5312F4A0C7A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C680057-9F14-40E7-A752-ED40510F485F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13A42F-A8E7-44E3-BB4A-7C763B911329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E738A0-7E88-4E9C-B9B3-96C293DE9CE9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EAB8D02-ECE2-4190-8241-1DF731560355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6C8C16D-3A30-4ADF-A1E1-5E5668E7D70F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32" name="Subtitle 2">
            <a:extLst>
              <a:ext uri="{FF2B5EF4-FFF2-40B4-BE49-F238E27FC236}">
                <a16:creationId xmlns:a16="http://schemas.microsoft.com/office/drawing/2014/main" id="{8F3246DC-C5BF-4123-BA49-B14EF33A4FF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87338" y="735014"/>
            <a:ext cx="8569325" cy="252412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GB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485950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0138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 1 and pattern">
    <p:bg>
      <p:bgPr>
        <a:solidFill>
          <a:schemeClr val="accent5">
            <a:alpha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6A2EB4F0-1242-4B37-82D8-85D39CC7DC7D}"/>
              </a:ext>
            </a:extLst>
          </p:cNvPr>
          <p:cNvSpPr/>
          <p:nvPr userDrawn="1"/>
        </p:nvSpPr>
        <p:spPr>
          <a:xfrm>
            <a:off x="5943600" y="1078086"/>
            <a:ext cx="2462674" cy="32675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Picture Placeholder 58">
            <a:extLst>
              <a:ext uri="{FF2B5EF4-FFF2-40B4-BE49-F238E27FC236}">
                <a16:creationId xmlns:a16="http://schemas.microsoft.com/office/drawing/2014/main" id="{1CA0517D-045A-4564-9B4D-F22051D254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15025" y="1050925"/>
            <a:ext cx="2524125" cy="3338513"/>
          </a:xfrm>
          <a:custGeom>
            <a:avLst/>
            <a:gdLst>
              <a:gd name="connsiteX0" fmla="*/ 2313456 w 2524125"/>
              <a:gd name="connsiteY0" fmla="*/ 433154 h 3338513"/>
              <a:gd name="connsiteX1" fmla="*/ 2300590 w 2524125"/>
              <a:gd name="connsiteY1" fmla="*/ 444804 h 3338513"/>
              <a:gd name="connsiteX2" fmla="*/ 2300590 w 2524125"/>
              <a:gd name="connsiteY2" fmla="*/ 444851 h 3338513"/>
              <a:gd name="connsiteX3" fmla="*/ 2313116 w 2524125"/>
              <a:gd name="connsiteY3" fmla="*/ 457021 h 3338513"/>
              <a:gd name="connsiteX4" fmla="*/ 2325735 w 2524125"/>
              <a:gd name="connsiteY4" fmla="*/ 445366 h 3338513"/>
              <a:gd name="connsiteX5" fmla="*/ 2313456 w 2524125"/>
              <a:gd name="connsiteY5" fmla="*/ 433154 h 3338513"/>
              <a:gd name="connsiteX6" fmla="*/ 2012929 w 2524125"/>
              <a:gd name="connsiteY6" fmla="*/ 421597 h 3338513"/>
              <a:gd name="connsiteX7" fmla="*/ 1987197 w 2524125"/>
              <a:gd name="connsiteY7" fmla="*/ 444805 h 3338513"/>
              <a:gd name="connsiteX8" fmla="*/ 1987197 w 2524125"/>
              <a:gd name="connsiteY8" fmla="*/ 444855 h 3338513"/>
              <a:gd name="connsiteX9" fmla="*/ 2012299 w 2524125"/>
              <a:gd name="connsiteY9" fmla="*/ 469238 h 3338513"/>
              <a:gd name="connsiteX10" fmla="*/ 2037385 w 2524125"/>
              <a:gd name="connsiteY10" fmla="*/ 446021 h 3338513"/>
              <a:gd name="connsiteX11" fmla="*/ 2012929 w 2524125"/>
              <a:gd name="connsiteY11" fmla="*/ 421597 h 3338513"/>
              <a:gd name="connsiteX12" fmla="*/ 2313795 w 2524125"/>
              <a:gd name="connsiteY12" fmla="*/ 128671 h 3338513"/>
              <a:gd name="connsiteX13" fmla="*/ 2288063 w 2524125"/>
              <a:gd name="connsiteY13" fmla="*/ 151879 h 3338513"/>
              <a:gd name="connsiteX14" fmla="*/ 2288063 w 2524125"/>
              <a:gd name="connsiteY14" fmla="*/ 151882 h 3338513"/>
              <a:gd name="connsiteX15" fmla="*/ 2313114 w 2524125"/>
              <a:gd name="connsiteY15" fmla="*/ 176312 h 3338513"/>
              <a:gd name="connsiteX16" fmla="*/ 2338250 w 2524125"/>
              <a:gd name="connsiteY16" fmla="*/ 153095 h 3338513"/>
              <a:gd name="connsiteX17" fmla="*/ 2313795 w 2524125"/>
              <a:gd name="connsiteY17" fmla="*/ 128671 h 3338513"/>
              <a:gd name="connsiteX18" fmla="*/ 1712068 w 2524125"/>
              <a:gd name="connsiteY18" fmla="*/ 128107 h 3338513"/>
              <a:gd name="connsiteX19" fmla="*/ 1686381 w 2524125"/>
              <a:gd name="connsiteY19" fmla="*/ 151367 h 3338513"/>
              <a:gd name="connsiteX20" fmla="*/ 1711481 w 2524125"/>
              <a:gd name="connsiteY20" fmla="*/ 175753 h 3338513"/>
              <a:gd name="connsiteX21" fmla="*/ 1736567 w 2524125"/>
              <a:gd name="connsiteY21" fmla="*/ 152490 h 3338513"/>
              <a:gd name="connsiteX22" fmla="*/ 1712068 w 2524125"/>
              <a:gd name="connsiteY22" fmla="*/ 128107 h 3338513"/>
              <a:gd name="connsiteX23" fmla="*/ 2013270 w 2524125"/>
              <a:gd name="connsiteY23" fmla="*/ 117112 h 3338513"/>
              <a:gd name="connsiteX24" fmla="*/ 1974671 w 2524125"/>
              <a:gd name="connsiteY24" fmla="*/ 151878 h 3338513"/>
              <a:gd name="connsiteX25" fmla="*/ 1974671 w 2524125"/>
              <a:gd name="connsiteY25" fmla="*/ 151882 h 3338513"/>
              <a:gd name="connsiteX26" fmla="*/ 2012299 w 2524125"/>
              <a:gd name="connsiteY26" fmla="*/ 188528 h 3338513"/>
              <a:gd name="connsiteX27" fmla="*/ 2049901 w 2524125"/>
              <a:gd name="connsiteY27" fmla="*/ 153750 h 3338513"/>
              <a:gd name="connsiteX28" fmla="*/ 2013270 w 2524125"/>
              <a:gd name="connsiteY28" fmla="*/ 117112 h 3338513"/>
              <a:gd name="connsiteX29" fmla="*/ 0 w 2524125"/>
              <a:gd name="connsiteY29" fmla="*/ 0 h 3338513"/>
              <a:gd name="connsiteX30" fmla="*/ 2524125 w 2524125"/>
              <a:gd name="connsiteY30" fmla="*/ 0 h 3338513"/>
              <a:gd name="connsiteX31" fmla="*/ 2524125 w 2524125"/>
              <a:gd name="connsiteY31" fmla="*/ 3338513 h 3338513"/>
              <a:gd name="connsiteX32" fmla="*/ 0 w 2524125"/>
              <a:gd name="connsiteY32" fmla="*/ 3338513 h 3338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524125" h="3338513">
                <a:moveTo>
                  <a:pt x="2313456" y="433154"/>
                </a:moveTo>
                <a:cubicBezTo>
                  <a:pt x="2306512" y="432999"/>
                  <a:pt x="2300753" y="438214"/>
                  <a:pt x="2300590" y="444804"/>
                </a:cubicBezTo>
                <a:cubicBezTo>
                  <a:pt x="2300590" y="444819"/>
                  <a:pt x="2300590" y="444837"/>
                  <a:pt x="2300590" y="444851"/>
                </a:cubicBezTo>
                <a:cubicBezTo>
                  <a:pt x="2300506" y="451498"/>
                  <a:pt x="2306118" y="456946"/>
                  <a:pt x="2313116" y="457021"/>
                </a:cubicBezTo>
                <a:cubicBezTo>
                  <a:pt x="2319966" y="457045"/>
                  <a:pt x="2325572" y="451863"/>
                  <a:pt x="2325735" y="445366"/>
                </a:cubicBezTo>
                <a:cubicBezTo>
                  <a:pt x="2325898" y="438776"/>
                  <a:pt x="2320399" y="433308"/>
                  <a:pt x="2313456" y="433154"/>
                </a:cubicBezTo>
                <a:close/>
                <a:moveTo>
                  <a:pt x="2012929" y="421597"/>
                </a:moveTo>
                <a:cubicBezTo>
                  <a:pt x="1999072" y="421259"/>
                  <a:pt x="1987552" y="431651"/>
                  <a:pt x="1987197" y="444805"/>
                </a:cubicBezTo>
                <a:cubicBezTo>
                  <a:pt x="1987197" y="444823"/>
                  <a:pt x="1987197" y="444837"/>
                  <a:pt x="1987197" y="444855"/>
                </a:cubicBezTo>
                <a:cubicBezTo>
                  <a:pt x="1987035" y="458168"/>
                  <a:pt x="1998273" y="469084"/>
                  <a:pt x="2012299" y="469238"/>
                </a:cubicBezTo>
                <a:cubicBezTo>
                  <a:pt x="2025909" y="469234"/>
                  <a:pt x="2037035" y="458936"/>
                  <a:pt x="2037385" y="446021"/>
                </a:cubicBezTo>
                <a:cubicBezTo>
                  <a:pt x="2037735" y="432868"/>
                  <a:pt x="2026791" y="421929"/>
                  <a:pt x="2012929" y="421597"/>
                </a:cubicBezTo>
                <a:close/>
                <a:moveTo>
                  <a:pt x="2313795" y="128671"/>
                </a:moveTo>
                <a:cubicBezTo>
                  <a:pt x="2299937" y="128333"/>
                  <a:pt x="2288417" y="138725"/>
                  <a:pt x="2288063" y="151879"/>
                </a:cubicBezTo>
                <a:cubicBezTo>
                  <a:pt x="2288063" y="151879"/>
                  <a:pt x="2288063" y="151882"/>
                  <a:pt x="2288063" y="151882"/>
                </a:cubicBezTo>
                <a:cubicBezTo>
                  <a:pt x="2287875" y="165195"/>
                  <a:pt x="2299089" y="176134"/>
                  <a:pt x="2313114" y="176312"/>
                </a:cubicBezTo>
                <a:cubicBezTo>
                  <a:pt x="2326745" y="176335"/>
                  <a:pt x="2337900" y="166028"/>
                  <a:pt x="2338250" y="153095"/>
                </a:cubicBezTo>
                <a:cubicBezTo>
                  <a:pt x="2338600" y="139942"/>
                  <a:pt x="2327657" y="129003"/>
                  <a:pt x="2313795" y="128671"/>
                </a:cubicBezTo>
                <a:close/>
                <a:moveTo>
                  <a:pt x="1712068" y="128107"/>
                </a:moveTo>
                <a:cubicBezTo>
                  <a:pt x="1698205" y="127798"/>
                  <a:pt x="1686706" y="138213"/>
                  <a:pt x="1686381" y="151367"/>
                </a:cubicBezTo>
                <a:cubicBezTo>
                  <a:pt x="1686242" y="164670"/>
                  <a:pt x="1697466" y="175576"/>
                  <a:pt x="1711481" y="175753"/>
                </a:cubicBezTo>
                <a:cubicBezTo>
                  <a:pt x="1725112" y="175749"/>
                  <a:pt x="1736247" y="165423"/>
                  <a:pt x="1736567" y="152490"/>
                </a:cubicBezTo>
                <a:cubicBezTo>
                  <a:pt x="1736893" y="139337"/>
                  <a:pt x="1725925" y="128421"/>
                  <a:pt x="1712068" y="128107"/>
                </a:cubicBezTo>
                <a:close/>
                <a:moveTo>
                  <a:pt x="2013270" y="117112"/>
                </a:moveTo>
                <a:cubicBezTo>
                  <a:pt x="1992499" y="116593"/>
                  <a:pt x="1975214" y="132162"/>
                  <a:pt x="1974671" y="151878"/>
                </a:cubicBezTo>
                <a:cubicBezTo>
                  <a:pt x="1974671" y="151878"/>
                  <a:pt x="1974671" y="151882"/>
                  <a:pt x="1974671" y="151882"/>
                </a:cubicBezTo>
                <a:cubicBezTo>
                  <a:pt x="1974400" y="171864"/>
                  <a:pt x="1991246" y="188270"/>
                  <a:pt x="2012299" y="188528"/>
                </a:cubicBezTo>
                <a:cubicBezTo>
                  <a:pt x="2032690" y="188524"/>
                  <a:pt x="2049364" y="173100"/>
                  <a:pt x="2049901" y="153750"/>
                </a:cubicBezTo>
                <a:cubicBezTo>
                  <a:pt x="2050443" y="134034"/>
                  <a:pt x="2034046" y="117628"/>
                  <a:pt x="2013270" y="117112"/>
                </a:cubicBezTo>
                <a:close/>
                <a:moveTo>
                  <a:pt x="0" y="0"/>
                </a:moveTo>
                <a:lnTo>
                  <a:pt x="2524125" y="0"/>
                </a:lnTo>
                <a:lnTo>
                  <a:pt x="2524125" y="3338513"/>
                </a:lnTo>
                <a:lnTo>
                  <a:pt x="0" y="333851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  <a:endParaRPr lang="en-GB" dirty="0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8" y="837147"/>
            <a:ext cx="4392923" cy="1882203"/>
          </a:xfrm>
        </p:spPr>
        <p:txBody>
          <a:bodyPr anchor="b"/>
          <a:lstStyle>
            <a:lvl1pPr algn="l"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Speakers nam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A3928A5-23A9-42AB-BE2A-254DDB2EE1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90545" y="2719350"/>
            <a:ext cx="4392923" cy="1008000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rgbClr val="655B54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add role title</a:t>
            </a:r>
          </a:p>
        </p:txBody>
      </p:sp>
      <p:grpSp>
        <p:nvGrpSpPr>
          <p:cNvPr id="34" name="Graphic 19">
            <a:extLst>
              <a:ext uri="{FF2B5EF4-FFF2-40B4-BE49-F238E27FC236}">
                <a16:creationId xmlns:a16="http://schemas.microsoft.com/office/drawing/2014/main" id="{30CCF508-8A96-414E-9404-07DB1BC111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53565A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F07F829-F6FC-4DF2-90CA-7E0E05E129F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C99CDAA-6B26-4696-95A7-75B99CF0A8D5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49E2DEE-F59C-4F32-839F-23EF943860C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4FECE93-C406-440F-B693-95442BB2B39D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2779207-3649-4476-B022-010AD1C8527D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F519B0A-0299-483D-BAFF-7DB63D01CAF8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2CBB9F8-0686-4E84-A9E1-C36C0BFC789A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0F79D2-7F6D-4A6C-99C4-1197C1C96A4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25792C8-2B0A-4D38-8872-2BA9859CC20C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C6C7FB1-D6C2-4132-87FD-770849F63E7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A97DBC4-3087-4BF9-837F-611C44A4C982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A90523E-2EEF-4C47-8A8E-75151ECB51E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AF56317-AA4A-4D20-98E3-07A50B1DB919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9E2A8E1-D8EA-4D9A-BF79-BBC3C8319030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59C028A-6019-4F31-98BF-64BCC56D005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E578A76-37FF-465B-A2F8-022311982319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A3D30F8-66D8-42FE-A00A-CBC30A14DA93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47D2386-F1CE-4D5D-A178-537E05B7FAA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56E0BFB-980D-49F4-BE48-1D88A88AADB8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B7FACB1-263A-42DA-8964-252FBF1B7141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A9B3A4-EC1D-48FE-AA9D-498A39DEE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B2D188-24CD-4318-B9F6-CDB0F6DA71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7CCF62-5A96-461B-B8BA-E249CAEFF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3565A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1" name="Dots">
            <a:extLst>
              <a:ext uri="{FF2B5EF4-FFF2-40B4-BE49-F238E27FC236}">
                <a16:creationId xmlns:a16="http://schemas.microsoft.com/office/drawing/2014/main" id="{4DC8648D-B704-4A1B-92A8-2B5828CECBBD}"/>
              </a:ext>
            </a:extLst>
          </p:cNvPr>
          <p:cNvSpPr/>
          <p:nvPr userDrawn="1"/>
        </p:nvSpPr>
        <p:spPr>
          <a:xfrm rot="16200000">
            <a:off x="7037019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accent1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57235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424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4"/>
            <a:ext cx="8569325" cy="396000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B2EFC80-19D6-4D40-8BBD-10FBF9FB383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87338" y="735014"/>
            <a:ext cx="8569325" cy="252412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GB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288202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7">
    <p:bg>
      <p:bgPr>
        <a:solidFill>
          <a:schemeClr val="accent3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523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8">
    <p:bg>
      <p:bgPr>
        <a:solidFill>
          <a:schemeClr val="accent3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260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9">
    <p:bg>
      <p:bgPr>
        <a:solidFill>
          <a:schemeClr val="accent3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4"/>
            <a:ext cx="8569325" cy="396000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36B8BE9-BB36-4A36-9F26-11708C686D0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87338" y="735014"/>
            <a:ext cx="8569325" cy="252412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GB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4686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7524750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7338" y="1384302"/>
            <a:ext cx="75247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620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7524750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7338" y="1384302"/>
            <a:ext cx="75247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941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7524750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7338" y="1384302"/>
            <a:ext cx="36004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AFA2D52-E665-4CA4-A88B-1E264F26A5C2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217203" y="1384302"/>
            <a:ext cx="36004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08688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7524750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7338" y="1384302"/>
            <a:ext cx="36004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AFA2D52-E665-4CA4-A88B-1E264F26A5C2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217203" y="1384302"/>
            <a:ext cx="3600450" cy="3240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0196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7524750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8FD492-2D24-4BF8-AE54-A527D3C947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338" y="1384301"/>
            <a:ext cx="3600450" cy="3240088"/>
          </a:xfrm>
        </p:spPr>
        <p:txBody>
          <a:bodyPr/>
          <a:lstStyle>
            <a:lvl1pPr marL="0" indent="0">
              <a:buNone/>
              <a:defRPr/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6024D76-B1AD-4C6E-B1D2-9BADC8ED8B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11638" y="1384301"/>
            <a:ext cx="3600450" cy="3240088"/>
          </a:xfrm>
        </p:spPr>
        <p:txBody>
          <a:bodyPr/>
          <a:lstStyle>
            <a:lvl1pPr marL="0" indent="0">
              <a:buNone/>
              <a:defRPr/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4813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aker 2 and patter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CD2B8DDE-141E-47A1-827C-BEBE167408A8}"/>
              </a:ext>
            </a:extLst>
          </p:cNvPr>
          <p:cNvSpPr/>
          <p:nvPr userDrawn="1"/>
        </p:nvSpPr>
        <p:spPr>
          <a:xfrm>
            <a:off x="5943600" y="1078086"/>
            <a:ext cx="2462674" cy="326757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ED1BA532-3110-40F8-A761-D6129FF3DF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15025" y="1050925"/>
            <a:ext cx="2524125" cy="3338513"/>
          </a:xfrm>
          <a:custGeom>
            <a:avLst/>
            <a:gdLst>
              <a:gd name="connsiteX0" fmla="*/ 2313456 w 2524125"/>
              <a:gd name="connsiteY0" fmla="*/ 433154 h 3338513"/>
              <a:gd name="connsiteX1" fmla="*/ 2300590 w 2524125"/>
              <a:gd name="connsiteY1" fmla="*/ 444804 h 3338513"/>
              <a:gd name="connsiteX2" fmla="*/ 2300590 w 2524125"/>
              <a:gd name="connsiteY2" fmla="*/ 444851 h 3338513"/>
              <a:gd name="connsiteX3" fmla="*/ 2313116 w 2524125"/>
              <a:gd name="connsiteY3" fmla="*/ 457021 h 3338513"/>
              <a:gd name="connsiteX4" fmla="*/ 2325735 w 2524125"/>
              <a:gd name="connsiteY4" fmla="*/ 445366 h 3338513"/>
              <a:gd name="connsiteX5" fmla="*/ 2313456 w 2524125"/>
              <a:gd name="connsiteY5" fmla="*/ 433154 h 3338513"/>
              <a:gd name="connsiteX6" fmla="*/ 2012929 w 2524125"/>
              <a:gd name="connsiteY6" fmla="*/ 421597 h 3338513"/>
              <a:gd name="connsiteX7" fmla="*/ 1987197 w 2524125"/>
              <a:gd name="connsiteY7" fmla="*/ 444805 h 3338513"/>
              <a:gd name="connsiteX8" fmla="*/ 1987197 w 2524125"/>
              <a:gd name="connsiteY8" fmla="*/ 444855 h 3338513"/>
              <a:gd name="connsiteX9" fmla="*/ 2012299 w 2524125"/>
              <a:gd name="connsiteY9" fmla="*/ 469238 h 3338513"/>
              <a:gd name="connsiteX10" fmla="*/ 2037385 w 2524125"/>
              <a:gd name="connsiteY10" fmla="*/ 446021 h 3338513"/>
              <a:gd name="connsiteX11" fmla="*/ 2012929 w 2524125"/>
              <a:gd name="connsiteY11" fmla="*/ 421597 h 3338513"/>
              <a:gd name="connsiteX12" fmla="*/ 2313795 w 2524125"/>
              <a:gd name="connsiteY12" fmla="*/ 128671 h 3338513"/>
              <a:gd name="connsiteX13" fmla="*/ 2288063 w 2524125"/>
              <a:gd name="connsiteY13" fmla="*/ 151879 h 3338513"/>
              <a:gd name="connsiteX14" fmla="*/ 2288063 w 2524125"/>
              <a:gd name="connsiteY14" fmla="*/ 151882 h 3338513"/>
              <a:gd name="connsiteX15" fmla="*/ 2313114 w 2524125"/>
              <a:gd name="connsiteY15" fmla="*/ 176312 h 3338513"/>
              <a:gd name="connsiteX16" fmla="*/ 2338250 w 2524125"/>
              <a:gd name="connsiteY16" fmla="*/ 153095 h 3338513"/>
              <a:gd name="connsiteX17" fmla="*/ 2313795 w 2524125"/>
              <a:gd name="connsiteY17" fmla="*/ 128671 h 3338513"/>
              <a:gd name="connsiteX18" fmla="*/ 1712068 w 2524125"/>
              <a:gd name="connsiteY18" fmla="*/ 128107 h 3338513"/>
              <a:gd name="connsiteX19" fmla="*/ 1686381 w 2524125"/>
              <a:gd name="connsiteY19" fmla="*/ 151367 h 3338513"/>
              <a:gd name="connsiteX20" fmla="*/ 1711481 w 2524125"/>
              <a:gd name="connsiteY20" fmla="*/ 175753 h 3338513"/>
              <a:gd name="connsiteX21" fmla="*/ 1736567 w 2524125"/>
              <a:gd name="connsiteY21" fmla="*/ 152490 h 3338513"/>
              <a:gd name="connsiteX22" fmla="*/ 1712068 w 2524125"/>
              <a:gd name="connsiteY22" fmla="*/ 128107 h 3338513"/>
              <a:gd name="connsiteX23" fmla="*/ 2013270 w 2524125"/>
              <a:gd name="connsiteY23" fmla="*/ 117112 h 3338513"/>
              <a:gd name="connsiteX24" fmla="*/ 1974671 w 2524125"/>
              <a:gd name="connsiteY24" fmla="*/ 151878 h 3338513"/>
              <a:gd name="connsiteX25" fmla="*/ 1974671 w 2524125"/>
              <a:gd name="connsiteY25" fmla="*/ 151882 h 3338513"/>
              <a:gd name="connsiteX26" fmla="*/ 2012299 w 2524125"/>
              <a:gd name="connsiteY26" fmla="*/ 188528 h 3338513"/>
              <a:gd name="connsiteX27" fmla="*/ 2049901 w 2524125"/>
              <a:gd name="connsiteY27" fmla="*/ 153750 h 3338513"/>
              <a:gd name="connsiteX28" fmla="*/ 2013270 w 2524125"/>
              <a:gd name="connsiteY28" fmla="*/ 117112 h 3338513"/>
              <a:gd name="connsiteX29" fmla="*/ 0 w 2524125"/>
              <a:gd name="connsiteY29" fmla="*/ 0 h 3338513"/>
              <a:gd name="connsiteX30" fmla="*/ 2524125 w 2524125"/>
              <a:gd name="connsiteY30" fmla="*/ 0 h 3338513"/>
              <a:gd name="connsiteX31" fmla="*/ 2524125 w 2524125"/>
              <a:gd name="connsiteY31" fmla="*/ 3338513 h 3338513"/>
              <a:gd name="connsiteX32" fmla="*/ 0 w 2524125"/>
              <a:gd name="connsiteY32" fmla="*/ 3338513 h 3338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524125" h="3338513">
                <a:moveTo>
                  <a:pt x="2313456" y="433154"/>
                </a:moveTo>
                <a:cubicBezTo>
                  <a:pt x="2306512" y="432999"/>
                  <a:pt x="2300753" y="438214"/>
                  <a:pt x="2300590" y="444804"/>
                </a:cubicBezTo>
                <a:cubicBezTo>
                  <a:pt x="2300590" y="444819"/>
                  <a:pt x="2300590" y="444837"/>
                  <a:pt x="2300590" y="444851"/>
                </a:cubicBezTo>
                <a:cubicBezTo>
                  <a:pt x="2300506" y="451498"/>
                  <a:pt x="2306118" y="456946"/>
                  <a:pt x="2313116" y="457021"/>
                </a:cubicBezTo>
                <a:cubicBezTo>
                  <a:pt x="2319966" y="457045"/>
                  <a:pt x="2325572" y="451863"/>
                  <a:pt x="2325735" y="445366"/>
                </a:cubicBezTo>
                <a:cubicBezTo>
                  <a:pt x="2325898" y="438776"/>
                  <a:pt x="2320399" y="433308"/>
                  <a:pt x="2313456" y="433154"/>
                </a:cubicBezTo>
                <a:close/>
                <a:moveTo>
                  <a:pt x="2012929" y="421597"/>
                </a:moveTo>
                <a:cubicBezTo>
                  <a:pt x="1999072" y="421259"/>
                  <a:pt x="1987552" y="431651"/>
                  <a:pt x="1987197" y="444805"/>
                </a:cubicBezTo>
                <a:cubicBezTo>
                  <a:pt x="1987197" y="444823"/>
                  <a:pt x="1987197" y="444837"/>
                  <a:pt x="1987197" y="444855"/>
                </a:cubicBezTo>
                <a:cubicBezTo>
                  <a:pt x="1987035" y="458168"/>
                  <a:pt x="1998273" y="469084"/>
                  <a:pt x="2012299" y="469238"/>
                </a:cubicBezTo>
                <a:cubicBezTo>
                  <a:pt x="2025909" y="469234"/>
                  <a:pt x="2037035" y="458936"/>
                  <a:pt x="2037385" y="446021"/>
                </a:cubicBezTo>
                <a:cubicBezTo>
                  <a:pt x="2037735" y="432868"/>
                  <a:pt x="2026791" y="421929"/>
                  <a:pt x="2012929" y="421597"/>
                </a:cubicBezTo>
                <a:close/>
                <a:moveTo>
                  <a:pt x="2313795" y="128671"/>
                </a:moveTo>
                <a:cubicBezTo>
                  <a:pt x="2299937" y="128333"/>
                  <a:pt x="2288417" y="138725"/>
                  <a:pt x="2288063" y="151879"/>
                </a:cubicBezTo>
                <a:cubicBezTo>
                  <a:pt x="2288063" y="151879"/>
                  <a:pt x="2288063" y="151882"/>
                  <a:pt x="2288063" y="151882"/>
                </a:cubicBezTo>
                <a:cubicBezTo>
                  <a:pt x="2287875" y="165195"/>
                  <a:pt x="2299089" y="176134"/>
                  <a:pt x="2313114" y="176312"/>
                </a:cubicBezTo>
                <a:cubicBezTo>
                  <a:pt x="2326745" y="176335"/>
                  <a:pt x="2337900" y="166028"/>
                  <a:pt x="2338250" y="153095"/>
                </a:cubicBezTo>
                <a:cubicBezTo>
                  <a:pt x="2338600" y="139942"/>
                  <a:pt x="2327657" y="129003"/>
                  <a:pt x="2313795" y="128671"/>
                </a:cubicBezTo>
                <a:close/>
                <a:moveTo>
                  <a:pt x="1712068" y="128107"/>
                </a:moveTo>
                <a:cubicBezTo>
                  <a:pt x="1698205" y="127798"/>
                  <a:pt x="1686706" y="138213"/>
                  <a:pt x="1686381" y="151367"/>
                </a:cubicBezTo>
                <a:cubicBezTo>
                  <a:pt x="1686242" y="164670"/>
                  <a:pt x="1697466" y="175576"/>
                  <a:pt x="1711481" y="175753"/>
                </a:cubicBezTo>
                <a:cubicBezTo>
                  <a:pt x="1725112" y="175749"/>
                  <a:pt x="1736247" y="165423"/>
                  <a:pt x="1736567" y="152490"/>
                </a:cubicBezTo>
                <a:cubicBezTo>
                  <a:pt x="1736893" y="139337"/>
                  <a:pt x="1725925" y="128421"/>
                  <a:pt x="1712068" y="128107"/>
                </a:cubicBezTo>
                <a:close/>
                <a:moveTo>
                  <a:pt x="2013270" y="117112"/>
                </a:moveTo>
                <a:cubicBezTo>
                  <a:pt x="1992499" y="116593"/>
                  <a:pt x="1975214" y="132162"/>
                  <a:pt x="1974671" y="151878"/>
                </a:cubicBezTo>
                <a:cubicBezTo>
                  <a:pt x="1974671" y="151878"/>
                  <a:pt x="1974671" y="151882"/>
                  <a:pt x="1974671" y="151882"/>
                </a:cubicBezTo>
                <a:cubicBezTo>
                  <a:pt x="1974400" y="171864"/>
                  <a:pt x="1991246" y="188270"/>
                  <a:pt x="2012299" y="188528"/>
                </a:cubicBezTo>
                <a:cubicBezTo>
                  <a:pt x="2032690" y="188524"/>
                  <a:pt x="2049364" y="173100"/>
                  <a:pt x="2049901" y="153750"/>
                </a:cubicBezTo>
                <a:cubicBezTo>
                  <a:pt x="2050443" y="134034"/>
                  <a:pt x="2034046" y="117628"/>
                  <a:pt x="2013270" y="117112"/>
                </a:cubicBezTo>
                <a:close/>
                <a:moveTo>
                  <a:pt x="0" y="0"/>
                </a:moveTo>
                <a:lnTo>
                  <a:pt x="2524125" y="0"/>
                </a:lnTo>
                <a:lnTo>
                  <a:pt x="2524125" y="3338513"/>
                </a:lnTo>
                <a:lnTo>
                  <a:pt x="0" y="333851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  <a:endParaRPr lang="en-GB" dirty="0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053A396-A4E8-411D-9AC4-A95D53FA72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7338" y="837147"/>
            <a:ext cx="4392923" cy="1882203"/>
          </a:xfrm>
        </p:spPr>
        <p:txBody>
          <a:bodyPr anchor="b"/>
          <a:lstStyle>
            <a:lvl1pPr algn="l"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eakers name</a:t>
            </a: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0A3928A5-23A9-42AB-BE2A-254DDB2EE1F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7338" y="2719350"/>
            <a:ext cx="4392923" cy="1008000"/>
          </a:xfrm>
        </p:spPr>
        <p:txBody>
          <a:bodyPr>
            <a:noAutofit/>
          </a:bodyPr>
          <a:lstStyle>
            <a:lvl1pPr marL="0" indent="0" algn="l">
              <a:buNone/>
              <a:defRPr sz="1600" b="0">
                <a:solidFill>
                  <a:srgbClr val="EACBBB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role title</a:t>
            </a:r>
            <a:endParaRPr lang="en-GB" dirty="0"/>
          </a:p>
        </p:txBody>
      </p:sp>
      <p:grpSp>
        <p:nvGrpSpPr>
          <p:cNvPr id="34" name="Graphic 19">
            <a:extLst>
              <a:ext uri="{FF2B5EF4-FFF2-40B4-BE49-F238E27FC236}">
                <a16:creationId xmlns:a16="http://schemas.microsoft.com/office/drawing/2014/main" id="{30CCF508-8A96-414E-9404-07DB1BC111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9994B1"/>
          </a:solidFill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F07F829-F6FC-4DF2-90CA-7E0E05E129FC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C99CDAA-6B26-4696-95A7-75B99CF0A8D5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49E2DEE-F59C-4F32-839F-23EF943860C6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4FECE93-C406-440F-B693-95442BB2B39D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2779207-3649-4476-B022-010AD1C8527D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F519B0A-0299-483D-BAFF-7DB63D01CAF8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12CBB9F8-0686-4E84-A9E1-C36C0BFC789A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2A0F79D2-7F6D-4A6C-99C4-1197C1C96A45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25792C8-2B0A-4D38-8872-2BA9859CC20C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C6C7FB1-D6C2-4132-87FD-770849F63E7A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A97DBC4-3087-4BF9-837F-611C44A4C982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A90523E-2EEF-4C47-8A8E-75151ECB51E4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AF56317-AA4A-4D20-98E3-07A50B1DB919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9E2A8E1-D8EA-4D9A-BF79-BBC3C8319030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759C028A-6019-4F31-98BF-64BCC56D005C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E578A76-37FF-465B-A2F8-022311982319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FA3D30F8-66D8-42FE-A00A-CBC30A14DA93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47D2386-F1CE-4D5D-A178-537E05B7FAAC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56E0BFB-980D-49F4-BE48-1D88A88AADB8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AB7FACB1-263A-42DA-8964-252FBF1B7141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A9B3A4-EC1D-48FE-AA9D-498A39DEE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B2D188-24CD-4318-B9F6-CDB0F6DA71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7CCF62-5A96-461B-B8BA-E249CAEFF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4B1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4" name="Dots">
            <a:extLst>
              <a:ext uri="{FF2B5EF4-FFF2-40B4-BE49-F238E27FC236}">
                <a16:creationId xmlns:a16="http://schemas.microsoft.com/office/drawing/2014/main" id="{6756FC10-BA1F-4145-A18C-32CA392462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7037019" y="276035"/>
            <a:ext cx="1793181" cy="1842720"/>
          </a:xfrm>
          <a:custGeom>
            <a:avLst/>
            <a:gdLst>
              <a:gd name="connsiteX0" fmla="*/ 23773 w 1793181"/>
              <a:gd name="connsiteY0" fmla="*/ 1817965 h 1842720"/>
              <a:gd name="connsiteX1" fmla="*/ 11561 w 1793181"/>
              <a:gd name="connsiteY1" fmla="*/ 1830141 h 1842720"/>
              <a:gd name="connsiteX2" fmla="*/ 0 w 1793181"/>
              <a:gd name="connsiteY2" fmla="*/ 1817625 h 1842720"/>
              <a:gd name="connsiteX3" fmla="*/ 12169 w 1793181"/>
              <a:gd name="connsiteY3" fmla="*/ 1805098 h 1842720"/>
              <a:gd name="connsiteX4" fmla="*/ 12216 w 1793181"/>
              <a:gd name="connsiteY4" fmla="*/ 1805098 h 1842720"/>
              <a:gd name="connsiteX5" fmla="*/ 23773 w 1793181"/>
              <a:gd name="connsiteY5" fmla="*/ 1817965 h 1842720"/>
              <a:gd name="connsiteX6" fmla="*/ 328537 w 1793181"/>
              <a:gd name="connsiteY6" fmla="*/ 1818256 h 1842720"/>
              <a:gd name="connsiteX7" fmla="*/ 304113 w 1793181"/>
              <a:gd name="connsiteY7" fmla="*/ 1842712 h 1842720"/>
              <a:gd name="connsiteX8" fmla="*/ 280896 w 1793181"/>
              <a:gd name="connsiteY8" fmla="*/ 1817624 h 1842720"/>
              <a:gd name="connsiteX9" fmla="*/ 305279 w 1793181"/>
              <a:gd name="connsiteY9" fmla="*/ 1792523 h 1842720"/>
              <a:gd name="connsiteX10" fmla="*/ 305329 w 1793181"/>
              <a:gd name="connsiteY10" fmla="*/ 1792523 h 1842720"/>
              <a:gd name="connsiteX11" fmla="*/ 328537 w 1793181"/>
              <a:gd name="connsiteY11" fmla="*/ 1818256 h 1842720"/>
              <a:gd name="connsiteX12" fmla="*/ 340145 w 1793181"/>
              <a:gd name="connsiteY12" fmla="*/ 1517734 h 1842720"/>
              <a:gd name="connsiteX13" fmla="*/ 303550 w 1793181"/>
              <a:gd name="connsiteY13" fmla="*/ 1554409 h 1842720"/>
              <a:gd name="connsiteX14" fmla="*/ 268726 w 1793181"/>
              <a:gd name="connsiteY14" fmla="*/ 1516758 h 1842720"/>
              <a:gd name="connsiteX15" fmla="*/ 305324 w 1793181"/>
              <a:gd name="connsiteY15" fmla="*/ 1479179 h 1842720"/>
              <a:gd name="connsiteX16" fmla="*/ 305329 w 1793181"/>
              <a:gd name="connsiteY16" fmla="*/ 1479179 h 1842720"/>
              <a:gd name="connsiteX17" fmla="*/ 340145 w 1793181"/>
              <a:gd name="connsiteY17" fmla="*/ 1517734 h 1842720"/>
              <a:gd name="connsiteX18" fmla="*/ 609814 w 1793181"/>
              <a:gd name="connsiteY18" fmla="*/ 1817965 h 1842720"/>
              <a:gd name="connsiteX19" fmla="*/ 597602 w 1793181"/>
              <a:gd name="connsiteY19" fmla="*/ 1830141 h 1842720"/>
              <a:gd name="connsiteX20" fmla="*/ 586041 w 1793181"/>
              <a:gd name="connsiteY20" fmla="*/ 1817624 h 1842720"/>
              <a:gd name="connsiteX21" fmla="*/ 598112 w 1793181"/>
              <a:gd name="connsiteY21" fmla="*/ 1805098 h 1842720"/>
              <a:gd name="connsiteX22" fmla="*/ 598257 w 1793181"/>
              <a:gd name="connsiteY22" fmla="*/ 1805098 h 1842720"/>
              <a:gd name="connsiteX23" fmla="*/ 609814 w 1793181"/>
              <a:gd name="connsiteY23" fmla="*/ 1817965 h 1842720"/>
              <a:gd name="connsiteX24" fmla="*/ 609907 w 1793181"/>
              <a:gd name="connsiteY24" fmla="*/ 1216232 h 1842720"/>
              <a:gd name="connsiteX25" fmla="*/ 597695 w 1793181"/>
              <a:gd name="connsiteY25" fmla="*/ 1228511 h 1842720"/>
              <a:gd name="connsiteX26" fmla="*/ 586040 w 1793181"/>
              <a:gd name="connsiteY26" fmla="*/ 1215892 h 1842720"/>
              <a:gd name="connsiteX27" fmla="*/ 598210 w 1793181"/>
              <a:gd name="connsiteY27" fmla="*/ 1203366 h 1842720"/>
              <a:gd name="connsiteX28" fmla="*/ 598257 w 1793181"/>
              <a:gd name="connsiteY28" fmla="*/ 1203366 h 1842720"/>
              <a:gd name="connsiteX29" fmla="*/ 609907 w 1793181"/>
              <a:gd name="connsiteY29" fmla="*/ 1216232 h 1842720"/>
              <a:gd name="connsiteX30" fmla="*/ 621464 w 1793181"/>
              <a:gd name="connsiteY30" fmla="*/ 1517438 h 1842720"/>
              <a:gd name="connsiteX31" fmla="*/ 597040 w 1793181"/>
              <a:gd name="connsiteY31" fmla="*/ 1541894 h 1842720"/>
              <a:gd name="connsiteX32" fmla="*/ 573823 w 1793181"/>
              <a:gd name="connsiteY32" fmla="*/ 1516757 h 1842720"/>
              <a:gd name="connsiteX33" fmla="*/ 598159 w 1793181"/>
              <a:gd name="connsiteY33" fmla="*/ 1491706 h 1842720"/>
              <a:gd name="connsiteX34" fmla="*/ 598256 w 1793181"/>
              <a:gd name="connsiteY34" fmla="*/ 1491706 h 1842720"/>
              <a:gd name="connsiteX35" fmla="*/ 621464 w 1793181"/>
              <a:gd name="connsiteY35" fmla="*/ 1517438 h 1842720"/>
              <a:gd name="connsiteX36" fmla="*/ 621464 w 1793181"/>
              <a:gd name="connsiteY36" fmla="*/ 915705 h 1842720"/>
              <a:gd name="connsiteX37" fmla="*/ 597040 w 1793181"/>
              <a:gd name="connsiteY37" fmla="*/ 940161 h 1842720"/>
              <a:gd name="connsiteX38" fmla="*/ 573823 w 1793181"/>
              <a:gd name="connsiteY38" fmla="*/ 915075 h 1842720"/>
              <a:gd name="connsiteX39" fmla="*/ 598206 w 1793181"/>
              <a:gd name="connsiteY39" fmla="*/ 889973 h 1842720"/>
              <a:gd name="connsiteX40" fmla="*/ 598256 w 1793181"/>
              <a:gd name="connsiteY40" fmla="*/ 889973 h 1842720"/>
              <a:gd name="connsiteX41" fmla="*/ 621464 w 1793181"/>
              <a:gd name="connsiteY41" fmla="*/ 915705 h 1842720"/>
              <a:gd name="connsiteX42" fmla="*/ 902740 w 1793181"/>
              <a:gd name="connsiteY42" fmla="*/ 1817965 h 1842720"/>
              <a:gd name="connsiteX43" fmla="*/ 890528 w 1793181"/>
              <a:gd name="connsiteY43" fmla="*/ 1830141 h 1842720"/>
              <a:gd name="connsiteX44" fmla="*/ 878967 w 1793181"/>
              <a:gd name="connsiteY44" fmla="*/ 1817624 h 1842720"/>
              <a:gd name="connsiteX45" fmla="*/ 891038 w 1793181"/>
              <a:gd name="connsiteY45" fmla="*/ 1805098 h 1842720"/>
              <a:gd name="connsiteX46" fmla="*/ 891183 w 1793181"/>
              <a:gd name="connsiteY46" fmla="*/ 1805098 h 1842720"/>
              <a:gd name="connsiteX47" fmla="*/ 902740 w 1793181"/>
              <a:gd name="connsiteY47" fmla="*/ 1817965 h 1842720"/>
              <a:gd name="connsiteX48" fmla="*/ 902740 w 1793181"/>
              <a:gd name="connsiteY48" fmla="*/ 1517097 h 1842720"/>
              <a:gd name="connsiteX49" fmla="*/ 890528 w 1793181"/>
              <a:gd name="connsiteY49" fmla="*/ 1529273 h 1842720"/>
              <a:gd name="connsiteX50" fmla="*/ 878967 w 1793181"/>
              <a:gd name="connsiteY50" fmla="*/ 1516757 h 1842720"/>
              <a:gd name="connsiteX51" fmla="*/ 891136 w 1793181"/>
              <a:gd name="connsiteY51" fmla="*/ 1504231 h 1842720"/>
              <a:gd name="connsiteX52" fmla="*/ 891183 w 1793181"/>
              <a:gd name="connsiteY52" fmla="*/ 1504231 h 1842720"/>
              <a:gd name="connsiteX53" fmla="*/ 902740 w 1793181"/>
              <a:gd name="connsiteY53" fmla="*/ 1517097 h 1842720"/>
              <a:gd name="connsiteX54" fmla="*/ 914390 w 1793181"/>
              <a:gd name="connsiteY54" fmla="*/ 1216571 h 1842720"/>
              <a:gd name="connsiteX55" fmla="*/ 889966 w 1793181"/>
              <a:gd name="connsiteY55" fmla="*/ 1241026 h 1842720"/>
              <a:gd name="connsiteX56" fmla="*/ 866749 w 1793181"/>
              <a:gd name="connsiteY56" fmla="*/ 1215890 h 1842720"/>
              <a:gd name="connsiteX57" fmla="*/ 891179 w 1793181"/>
              <a:gd name="connsiteY57" fmla="*/ 1190839 h 1842720"/>
              <a:gd name="connsiteX58" fmla="*/ 891182 w 1793181"/>
              <a:gd name="connsiteY58" fmla="*/ 1190839 h 1842720"/>
              <a:gd name="connsiteX59" fmla="*/ 914390 w 1793181"/>
              <a:gd name="connsiteY59" fmla="*/ 1216571 h 1842720"/>
              <a:gd name="connsiteX60" fmla="*/ 914954 w 1793181"/>
              <a:gd name="connsiteY60" fmla="*/ 614844 h 1842720"/>
              <a:gd name="connsiteX61" fmla="*/ 890571 w 1793181"/>
              <a:gd name="connsiteY61" fmla="*/ 639343 h 1842720"/>
              <a:gd name="connsiteX62" fmla="*/ 867308 w 1793181"/>
              <a:gd name="connsiteY62" fmla="*/ 614257 h 1842720"/>
              <a:gd name="connsiteX63" fmla="*/ 891694 w 1793181"/>
              <a:gd name="connsiteY63" fmla="*/ 589157 h 1842720"/>
              <a:gd name="connsiteX64" fmla="*/ 914954 w 1793181"/>
              <a:gd name="connsiteY64" fmla="*/ 614844 h 1842720"/>
              <a:gd name="connsiteX65" fmla="*/ 925949 w 1793181"/>
              <a:gd name="connsiteY65" fmla="*/ 916046 h 1842720"/>
              <a:gd name="connsiteX66" fmla="*/ 889311 w 1793181"/>
              <a:gd name="connsiteY66" fmla="*/ 952677 h 1842720"/>
              <a:gd name="connsiteX67" fmla="*/ 854533 w 1793181"/>
              <a:gd name="connsiteY67" fmla="*/ 915075 h 1842720"/>
              <a:gd name="connsiteX68" fmla="*/ 891179 w 1793181"/>
              <a:gd name="connsiteY68" fmla="*/ 877447 h 1842720"/>
              <a:gd name="connsiteX69" fmla="*/ 891183 w 1793181"/>
              <a:gd name="connsiteY69" fmla="*/ 877447 h 1842720"/>
              <a:gd name="connsiteX70" fmla="*/ 925949 w 1793181"/>
              <a:gd name="connsiteY70" fmla="*/ 916046 h 1842720"/>
              <a:gd name="connsiteX71" fmla="*/ 1195666 w 1793181"/>
              <a:gd name="connsiteY71" fmla="*/ 1817916 h 1842720"/>
              <a:gd name="connsiteX72" fmla="*/ 1183500 w 1793181"/>
              <a:gd name="connsiteY72" fmla="*/ 1830146 h 1842720"/>
              <a:gd name="connsiteX73" fmla="*/ 1171893 w 1793181"/>
              <a:gd name="connsiteY73" fmla="*/ 1817625 h 1842720"/>
              <a:gd name="connsiteX74" fmla="*/ 1184062 w 1793181"/>
              <a:gd name="connsiteY74" fmla="*/ 1805098 h 1842720"/>
              <a:gd name="connsiteX75" fmla="*/ 1195666 w 1793181"/>
              <a:gd name="connsiteY75" fmla="*/ 1817916 h 1842720"/>
              <a:gd name="connsiteX76" fmla="*/ 1195666 w 1793181"/>
              <a:gd name="connsiteY76" fmla="*/ 614499 h 1842720"/>
              <a:gd name="connsiteX77" fmla="*/ 1183500 w 1793181"/>
              <a:gd name="connsiteY77" fmla="*/ 626728 h 1842720"/>
              <a:gd name="connsiteX78" fmla="*/ 1171893 w 1793181"/>
              <a:gd name="connsiteY78" fmla="*/ 614208 h 1842720"/>
              <a:gd name="connsiteX79" fmla="*/ 1184062 w 1793181"/>
              <a:gd name="connsiteY79" fmla="*/ 601683 h 1842720"/>
              <a:gd name="connsiteX80" fmla="*/ 1195666 w 1793181"/>
              <a:gd name="connsiteY80" fmla="*/ 614499 h 1842720"/>
              <a:gd name="connsiteX81" fmla="*/ 1195759 w 1793181"/>
              <a:gd name="connsiteY81" fmla="*/ 1216187 h 1842720"/>
              <a:gd name="connsiteX82" fmla="*/ 1183594 w 1793181"/>
              <a:gd name="connsiteY82" fmla="*/ 1228511 h 1842720"/>
              <a:gd name="connsiteX83" fmla="*/ 1171892 w 1793181"/>
              <a:gd name="connsiteY83" fmla="*/ 1215891 h 1842720"/>
              <a:gd name="connsiteX84" fmla="*/ 1184062 w 1793181"/>
              <a:gd name="connsiteY84" fmla="*/ 1203366 h 1842720"/>
              <a:gd name="connsiteX85" fmla="*/ 1195759 w 1793181"/>
              <a:gd name="connsiteY85" fmla="*/ 1216187 h 1842720"/>
              <a:gd name="connsiteX86" fmla="*/ 1207321 w 1793181"/>
              <a:gd name="connsiteY86" fmla="*/ 1517394 h 1842720"/>
              <a:gd name="connsiteX87" fmla="*/ 1182939 w 1793181"/>
              <a:gd name="connsiteY87" fmla="*/ 1541894 h 1842720"/>
              <a:gd name="connsiteX88" fmla="*/ 1159675 w 1793181"/>
              <a:gd name="connsiteY88" fmla="*/ 1516757 h 1842720"/>
              <a:gd name="connsiteX89" fmla="*/ 1184062 w 1793181"/>
              <a:gd name="connsiteY89" fmla="*/ 1491706 h 1842720"/>
              <a:gd name="connsiteX90" fmla="*/ 1207321 w 1793181"/>
              <a:gd name="connsiteY90" fmla="*/ 1517394 h 1842720"/>
              <a:gd name="connsiteX91" fmla="*/ 1207322 w 1793181"/>
              <a:gd name="connsiteY91" fmla="*/ 915661 h 1842720"/>
              <a:gd name="connsiteX92" fmla="*/ 1182939 w 1793181"/>
              <a:gd name="connsiteY92" fmla="*/ 940160 h 1842720"/>
              <a:gd name="connsiteX93" fmla="*/ 1159676 w 1793181"/>
              <a:gd name="connsiteY93" fmla="*/ 915074 h 1842720"/>
              <a:gd name="connsiteX94" fmla="*/ 1184062 w 1793181"/>
              <a:gd name="connsiteY94" fmla="*/ 889974 h 1842720"/>
              <a:gd name="connsiteX95" fmla="*/ 1207322 w 1793181"/>
              <a:gd name="connsiteY95" fmla="*/ 915661 h 1842720"/>
              <a:gd name="connsiteX96" fmla="*/ 1488593 w 1793181"/>
              <a:gd name="connsiteY96" fmla="*/ 915365 h 1842720"/>
              <a:gd name="connsiteX97" fmla="*/ 1476427 w 1793181"/>
              <a:gd name="connsiteY97" fmla="*/ 927595 h 1842720"/>
              <a:gd name="connsiteX98" fmla="*/ 1464819 w 1793181"/>
              <a:gd name="connsiteY98" fmla="*/ 915075 h 1842720"/>
              <a:gd name="connsiteX99" fmla="*/ 1476989 w 1793181"/>
              <a:gd name="connsiteY99" fmla="*/ 902549 h 1842720"/>
              <a:gd name="connsiteX100" fmla="*/ 1488593 w 1793181"/>
              <a:gd name="connsiteY100" fmla="*/ 915365 h 1842720"/>
              <a:gd name="connsiteX101" fmla="*/ 1500150 w 1793181"/>
              <a:gd name="connsiteY101" fmla="*/ 614839 h 1842720"/>
              <a:gd name="connsiteX102" fmla="*/ 1475772 w 1793181"/>
              <a:gd name="connsiteY102" fmla="*/ 639245 h 1842720"/>
              <a:gd name="connsiteX103" fmla="*/ 1452603 w 1793181"/>
              <a:gd name="connsiteY103" fmla="*/ 614209 h 1842720"/>
              <a:gd name="connsiteX104" fmla="*/ 1476989 w 1793181"/>
              <a:gd name="connsiteY104" fmla="*/ 589157 h 1842720"/>
              <a:gd name="connsiteX105" fmla="*/ 1500150 w 1793181"/>
              <a:gd name="connsiteY105" fmla="*/ 614839 h 1842720"/>
              <a:gd name="connsiteX106" fmla="*/ 1500248 w 1793181"/>
              <a:gd name="connsiteY106" fmla="*/ 1818211 h 1842720"/>
              <a:gd name="connsiteX107" fmla="*/ 1475865 w 1793181"/>
              <a:gd name="connsiteY107" fmla="*/ 1842711 h 1842720"/>
              <a:gd name="connsiteX108" fmla="*/ 1452602 w 1793181"/>
              <a:gd name="connsiteY108" fmla="*/ 1817625 h 1842720"/>
              <a:gd name="connsiteX109" fmla="*/ 1476988 w 1793181"/>
              <a:gd name="connsiteY109" fmla="*/ 1792523 h 1842720"/>
              <a:gd name="connsiteX110" fmla="*/ 1500248 w 1793181"/>
              <a:gd name="connsiteY110" fmla="*/ 1818211 h 1842720"/>
              <a:gd name="connsiteX111" fmla="*/ 1500248 w 1793181"/>
              <a:gd name="connsiteY111" fmla="*/ 1216527 h 1842720"/>
              <a:gd name="connsiteX112" fmla="*/ 1475865 w 1793181"/>
              <a:gd name="connsiteY112" fmla="*/ 1241027 h 1842720"/>
              <a:gd name="connsiteX113" fmla="*/ 1452602 w 1793181"/>
              <a:gd name="connsiteY113" fmla="*/ 1215892 h 1842720"/>
              <a:gd name="connsiteX114" fmla="*/ 1476988 w 1793181"/>
              <a:gd name="connsiteY114" fmla="*/ 1190841 h 1842720"/>
              <a:gd name="connsiteX115" fmla="*/ 1500248 w 1793181"/>
              <a:gd name="connsiteY115" fmla="*/ 1216527 h 1842720"/>
              <a:gd name="connsiteX116" fmla="*/ 1511805 w 1793181"/>
              <a:gd name="connsiteY116" fmla="*/ 1517734 h 1842720"/>
              <a:gd name="connsiteX117" fmla="*/ 1475210 w 1793181"/>
              <a:gd name="connsiteY117" fmla="*/ 1554408 h 1842720"/>
              <a:gd name="connsiteX118" fmla="*/ 1440385 w 1793181"/>
              <a:gd name="connsiteY118" fmla="*/ 1516757 h 1842720"/>
              <a:gd name="connsiteX119" fmla="*/ 1476988 w 1793181"/>
              <a:gd name="connsiteY119" fmla="*/ 1479180 h 1842720"/>
              <a:gd name="connsiteX120" fmla="*/ 1511805 w 1793181"/>
              <a:gd name="connsiteY120" fmla="*/ 1517734 h 1842720"/>
              <a:gd name="connsiteX121" fmla="*/ 1511805 w 1793181"/>
              <a:gd name="connsiteY121" fmla="*/ 314319 h 1842720"/>
              <a:gd name="connsiteX122" fmla="*/ 1475210 w 1793181"/>
              <a:gd name="connsiteY122" fmla="*/ 350994 h 1842720"/>
              <a:gd name="connsiteX123" fmla="*/ 1440385 w 1793181"/>
              <a:gd name="connsiteY123" fmla="*/ 313342 h 1842720"/>
              <a:gd name="connsiteX124" fmla="*/ 1476988 w 1793181"/>
              <a:gd name="connsiteY124" fmla="*/ 275765 h 1842720"/>
              <a:gd name="connsiteX125" fmla="*/ 1511805 w 1793181"/>
              <a:gd name="connsiteY125" fmla="*/ 314319 h 1842720"/>
              <a:gd name="connsiteX126" fmla="*/ 1781519 w 1793181"/>
              <a:gd name="connsiteY126" fmla="*/ 1817916 h 1842720"/>
              <a:gd name="connsiteX127" fmla="*/ 1769353 w 1793181"/>
              <a:gd name="connsiteY127" fmla="*/ 1830146 h 1842720"/>
              <a:gd name="connsiteX128" fmla="*/ 1757746 w 1793181"/>
              <a:gd name="connsiteY128" fmla="*/ 1817625 h 1842720"/>
              <a:gd name="connsiteX129" fmla="*/ 1769915 w 1793181"/>
              <a:gd name="connsiteY129" fmla="*/ 1805098 h 1842720"/>
              <a:gd name="connsiteX130" fmla="*/ 1781519 w 1793181"/>
              <a:gd name="connsiteY130" fmla="*/ 1817916 h 1842720"/>
              <a:gd name="connsiteX131" fmla="*/ 1781519 w 1793181"/>
              <a:gd name="connsiteY131" fmla="*/ 915365 h 1842720"/>
              <a:gd name="connsiteX132" fmla="*/ 1769353 w 1793181"/>
              <a:gd name="connsiteY132" fmla="*/ 927595 h 1842720"/>
              <a:gd name="connsiteX133" fmla="*/ 1757746 w 1793181"/>
              <a:gd name="connsiteY133" fmla="*/ 915075 h 1842720"/>
              <a:gd name="connsiteX134" fmla="*/ 1769915 w 1793181"/>
              <a:gd name="connsiteY134" fmla="*/ 902549 h 1842720"/>
              <a:gd name="connsiteX135" fmla="*/ 1781519 w 1793181"/>
              <a:gd name="connsiteY135" fmla="*/ 915365 h 1842720"/>
              <a:gd name="connsiteX136" fmla="*/ 1781519 w 1793181"/>
              <a:gd name="connsiteY136" fmla="*/ 614499 h 1842720"/>
              <a:gd name="connsiteX137" fmla="*/ 1769353 w 1793181"/>
              <a:gd name="connsiteY137" fmla="*/ 626728 h 1842720"/>
              <a:gd name="connsiteX138" fmla="*/ 1757746 w 1793181"/>
              <a:gd name="connsiteY138" fmla="*/ 614208 h 1842720"/>
              <a:gd name="connsiteX139" fmla="*/ 1769915 w 1793181"/>
              <a:gd name="connsiteY139" fmla="*/ 601683 h 1842720"/>
              <a:gd name="connsiteX140" fmla="*/ 1781519 w 1793181"/>
              <a:gd name="connsiteY140" fmla="*/ 614499 h 1842720"/>
              <a:gd name="connsiteX141" fmla="*/ 1781519 w 1793181"/>
              <a:gd name="connsiteY141" fmla="*/ 12816 h 1842720"/>
              <a:gd name="connsiteX142" fmla="*/ 1769353 w 1793181"/>
              <a:gd name="connsiteY142" fmla="*/ 25046 h 1842720"/>
              <a:gd name="connsiteX143" fmla="*/ 1757746 w 1793181"/>
              <a:gd name="connsiteY143" fmla="*/ 12526 h 1842720"/>
              <a:gd name="connsiteX144" fmla="*/ 1769915 w 1793181"/>
              <a:gd name="connsiteY144" fmla="*/ 0 h 1842720"/>
              <a:gd name="connsiteX145" fmla="*/ 1781519 w 1793181"/>
              <a:gd name="connsiteY145" fmla="*/ 12816 h 1842720"/>
              <a:gd name="connsiteX146" fmla="*/ 1781612 w 1793181"/>
              <a:gd name="connsiteY146" fmla="*/ 1216187 h 1842720"/>
              <a:gd name="connsiteX147" fmla="*/ 1769447 w 1793181"/>
              <a:gd name="connsiteY147" fmla="*/ 1228511 h 1842720"/>
              <a:gd name="connsiteX148" fmla="*/ 1757745 w 1793181"/>
              <a:gd name="connsiteY148" fmla="*/ 1215891 h 1842720"/>
              <a:gd name="connsiteX149" fmla="*/ 1769915 w 1793181"/>
              <a:gd name="connsiteY149" fmla="*/ 1203366 h 1842720"/>
              <a:gd name="connsiteX150" fmla="*/ 1781612 w 1793181"/>
              <a:gd name="connsiteY150" fmla="*/ 1216187 h 1842720"/>
              <a:gd name="connsiteX151" fmla="*/ 1793174 w 1793181"/>
              <a:gd name="connsiteY151" fmla="*/ 313979 h 1842720"/>
              <a:gd name="connsiteX152" fmla="*/ 1768792 w 1793181"/>
              <a:gd name="connsiteY152" fmla="*/ 338478 h 1842720"/>
              <a:gd name="connsiteX153" fmla="*/ 1745528 w 1793181"/>
              <a:gd name="connsiteY153" fmla="*/ 313342 h 1842720"/>
              <a:gd name="connsiteX154" fmla="*/ 1769916 w 1793181"/>
              <a:gd name="connsiteY154" fmla="*/ 288291 h 1842720"/>
              <a:gd name="connsiteX155" fmla="*/ 1793174 w 1793181"/>
              <a:gd name="connsiteY155" fmla="*/ 313979 h 1842720"/>
              <a:gd name="connsiteX156" fmla="*/ 1793175 w 1793181"/>
              <a:gd name="connsiteY156" fmla="*/ 1517394 h 1842720"/>
              <a:gd name="connsiteX157" fmla="*/ 1768792 w 1793181"/>
              <a:gd name="connsiteY157" fmla="*/ 1541894 h 1842720"/>
              <a:gd name="connsiteX158" fmla="*/ 1745528 w 1793181"/>
              <a:gd name="connsiteY158" fmla="*/ 1516758 h 1842720"/>
              <a:gd name="connsiteX159" fmla="*/ 1769916 w 1793181"/>
              <a:gd name="connsiteY159" fmla="*/ 1491706 h 1842720"/>
              <a:gd name="connsiteX160" fmla="*/ 1793175 w 1793181"/>
              <a:gd name="connsiteY160" fmla="*/ 1517394 h 184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793181" h="1842720">
                <a:moveTo>
                  <a:pt x="23773" y="1817965"/>
                </a:moveTo>
                <a:cubicBezTo>
                  <a:pt x="23591" y="1824880"/>
                  <a:pt x="18123" y="1830333"/>
                  <a:pt x="11561" y="1830141"/>
                </a:cubicBezTo>
                <a:cubicBezTo>
                  <a:pt x="5124" y="1829953"/>
                  <a:pt x="4" y="1824406"/>
                  <a:pt x="0" y="1817625"/>
                </a:cubicBezTo>
                <a:cubicBezTo>
                  <a:pt x="74" y="1810628"/>
                  <a:pt x="5523" y="1805014"/>
                  <a:pt x="12169" y="1805098"/>
                </a:cubicBezTo>
                <a:cubicBezTo>
                  <a:pt x="12184" y="1805098"/>
                  <a:pt x="12202" y="1805098"/>
                  <a:pt x="12216" y="1805098"/>
                </a:cubicBezTo>
                <a:cubicBezTo>
                  <a:pt x="18779" y="1805291"/>
                  <a:pt x="23956" y="1811052"/>
                  <a:pt x="23773" y="1817965"/>
                </a:cubicBezTo>
                <a:close/>
                <a:moveTo>
                  <a:pt x="328537" y="1818256"/>
                </a:moveTo>
                <a:cubicBezTo>
                  <a:pt x="328205" y="1832118"/>
                  <a:pt x="317266" y="1843062"/>
                  <a:pt x="304113" y="1842712"/>
                </a:cubicBezTo>
                <a:cubicBezTo>
                  <a:pt x="291198" y="1842360"/>
                  <a:pt x="280900" y="1831236"/>
                  <a:pt x="280896" y="1817624"/>
                </a:cubicBezTo>
                <a:cubicBezTo>
                  <a:pt x="281050" y="1803599"/>
                  <a:pt x="291966" y="1792360"/>
                  <a:pt x="305279" y="1792523"/>
                </a:cubicBezTo>
                <a:cubicBezTo>
                  <a:pt x="305297" y="1792523"/>
                  <a:pt x="305311" y="1792523"/>
                  <a:pt x="305329" y="1792523"/>
                </a:cubicBezTo>
                <a:cubicBezTo>
                  <a:pt x="318483" y="1792878"/>
                  <a:pt x="328875" y="1804398"/>
                  <a:pt x="328537" y="1818256"/>
                </a:cubicBezTo>
                <a:close/>
                <a:moveTo>
                  <a:pt x="340145" y="1517734"/>
                </a:moveTo>
                <a:cubicBezTo>
                  <a:pt x="339654" y="1538505"/>
                  <a:pt x="323271" y="1554926"/>
                  <a:pt x="303550" y="1554409"/>
                </a:cubicBezTo>
                <a:cubicBezTo>
                  <a:pt x="284163" y="1553901"/>
                  <a:pt x="268706" y="1537188"/>
                  <a:pt x="268726" y="1516758"/>
                </a:cubicBezTo>
                <a:cubicBezTo>
                  <a:pt x="268983" y="1495735"/>
                  <a:pt x="285366" y="1478908"/>
                  <a:pt x="305324" y="1479179"/>
                </a:cubicBezTo>
                <a:cubicBezTo>
                  <a:pt x="305324" y="1479179"/>
                  <a:pt x="305329" y="1479179"/>
                  <a:pt x="305329" y="1479179"/>
                </a:cubicBezTo>
                <a:cubicBezTo>
                  <a:pt x="325050" y="1479698"/>
                  <a:pt x="340637" y="1496958"/>
                  <a:pt x="340145" y="1517734"/>
                </a:cubicBezTo>
                <a:close/>
                <a:moveTo>
                  <a:pt x="609814" y="1817965"/>
                </a:moveTo>
                <a:cubicBezTo>
                  <a:pt x="609632" y="1824879"/>
                  <a:pt x="604164" y="1830333"/>
                  <a:pt x="597602" y="1830141"/>
                </a:cubicBezTo>
                <a:cubicBezTo>
                  <a:pt x="591165" y="1829953"/>
                  <a:pt x="586045" y="1824405"/>
                  <a:pt x="586041" y="1817624"/>
                </a:cubicBezTo>
                <a:cubicBezTo>
                  <a:pt x="586091" y="1810651"/>
                  <a:pt x="591498" y="1805044"/>
                  <a:pt x="598112" y="1805098"/>
                </a:cubicBezTo>
                <a:cubicBezTo>
                  <a:pt x="598163" y="1805098"/>
                  <a:pt x="598210" y="1805098"/>
                  <a:pt x="598257" y="1805098"/>
                </a:cubicBezTo>
                <a:cubicBezTo>
                  <a:pt x="604820" y="1805290"/>
                  <a:pt x="609997" y="1811051"/>
                  <a:pt x="609814" y="1817965"/>
                </a:cubicBezTo>
                <a:close/>
                <a:moveTo>
                  <a:pt x="609907" y="1216232"/>
                </a:moveTo>
                <a:cubicBezTo>
                  <a:pt x="609753" y="1223175"/>
                  <a:pt x="604285" y="1228674"/>
                  <a:pt x="597695" y="1228511"/>
                </a:cubicBezTo>
                <a:cubicBezTo>
                  <a:pt x="591198" y="1228348"/>
                  <a:pt x="586016" y="1222742"/>
                  <a:pt x="586040" y="1215892"/>
                </a:cubicBezTo>
                <a:cubicBezTo>
                  <a:pt x="586115" y="1208894"/>
                  <a:pt x="591563" y="1203282"/>
                  <a:pt x="598210" y="1203366"/>
                </a:cubicBezTo>
                <a:cubicBezTo>
                  <a:pt x="598224" y="1203366"/>
                  <a:pt x="598242" y="1203366"/>
                  <a:pt x="598257" y="1203366"/>
                </a:cubicBezTo>
                <a:cubicBezTo>
                  <a:pt x="604847" y="1203529"/>
                  <a:pt x="610062" y="1209288"/>
                  <a:pt x="609907" y="1216232"/>
                </a:cubicBezTo>
                <a:close/>
                <a:moveTo>
                  <a:pt x="621464" y="1517438"/>
                </a:moveTo>
                <a:cubicBezTo>
                  <a:pt x="621132" y="1531300"/>
                  <a:pt x="610193" y="1542244"/>
                  <a:pt x="597040" y="1541894"/>
                </a:cubicBezTo>
                <a:cubicBezTo>
                  <a:pt x="584107" y="1541542"/>
                  <a:pt x="573800" y="1530388"/>
                  <a:pt x="573823" y="1516757"/>
                </a:cubicBezTo>
                <a:cubicBezTo>
                  <a:pt x="573977" y="1502757"/>
                  <a:pt x="584870" y="1491543"/>
                  <a:pt x="598159" y="1491706"/>
                </a:cubicBezTo>
                <a:cubicBezTo>
                  <a:pt x="598191" y="1491706"/>
                  <a:pt x="598224" y="1491706"/>
                  <a:pt x="598256" y="1491706"/>
                </a:cubicBezTo>
                <a:cubicBezTo>
                  <a:pt x="611410" y="1492061"/>
                  <a:pt x="621802" y="1503581"/>
                  <a:pt x="621464" y="1517438"/>
                </a:cubicBezTo>
                <a:close/>
                <a:moveTo>
                  <a:pt x="621464" y="915705"/>
                </a:moveTo>
                <a:cubicBezTo>
                  <a:pt x="621132" y="929567"/>
                  <a:pt x="610193" y="940511"/>
                  <a:pt x="597040" y="940161"/>
                </a:cubicBezTo>
                <a:cubicBezTo>
                  <a:pt x="584125" y="939811"/>
                  <a:pt x="573827" y="928685"/>
                  <a:pt x="573823" y="915075"/>
                </a:cubicBezTo>
                <a:cubicBezTo>
                  <a:pt x="573977" y="901049"/>
                  <a:pt x="584893" y="889811"/>
                  <a:pt x="598206" y="889973"/>
                </a:cubicBezTo>
                <a:cubicBezTo>
                  <a:pt x="598224" y="889973"/>
                  <a:pt x="598238" y="889973"/>
                  <a:pt x="598256" y="889973"/>
                </a:cubicBezTo>
                <a:cubicBezTo>
                  <a:pt x="611410" y="890328"/>
                  <a:pt x="621802" y="901848"/>
                  <a:pt x="621464" y="915705"/>
                </a:cubicBezTo>
                <a:close/>
                <a:moveTo>
                  <a:pt x="902740" y="1817965"/>
                </a:moveTo>
                <a:cubicBezTo>
                  <a:pt x="902558" y="1824879"/>
                  <a:pt x="897090" y="1830333"/>
                  <a:pt x="890528" y="1830141"/>
                </a:cubicBezTo>
                <a:cubicBezTo>
                  <a:pt x="884091" y="1829953"/>
                  <a:pt x="878971" y="1824405"/>
                  <a:pt x="878967" y="1817624"/>
                </a:cubicBezTo>
                <a:cubicBezTo>
                  <a:pt x="879017" y="1810651"/>
                  <a:pt x="884424" y="1805044"/>
                  <a:pt x="891038" y="1805098"/>
                </a:cubicBezTo>
                <a:cubicBezTo>
                  <a:pt x="891089" y="1805098"/>
                  <a:pt x="891136" y="1805098"/>
                  <a:pt x="891183" y="1805098"/>
                </a:cubicBezTo>
                <a:cubicBezTo>
                  <a:pt x="897746" y="1805290"/>
                  <a:pt x="902922" y="1811051"/>
                  <a:pt x="902740" y="1817965"/>
                </a:cubicBezTo>
                <a:close/>
                <a:moveTo>
                  <a:pt x="902740" y="1517097"/>
                </a:moveTo>
                <a:cubicBezTo>
                  <a:pt x="902558" y="1524012"/>
                  <a:pt x="897090" y="1529465"/>
                  <a:pt x="890528" y="1529273"/>
                </a:cubicBezTo>
                <a:cubicBezTo>
                  <a:pt x="884091" y="1529085"/>
                  <a:pt x="878971" y="1523538"/>
                  <a:pt x="878967" y="1516757"/>
                </a:cubicBezTo>
                <a:cubicBezTo>
                  <a:pt x="879041" y="1509760"/>
                  <a:pt x="884490" y="1504148"/>
                  <a:pt x="891136" y="1504231"/>
                </a:cubicBezTo>
                <a:cubicBezTo>
                  <a:pt x="891151" y="1504231"/>
                  <a:pt x="891164" y="1504231"/>
                  <a:pt x="891183" y="1504231"/>
                </a:cubicBezTo>
                <a:cubicBezTo>
                  <a:pt x="897746" y="1504424"/>
                  <a:pt x="902922" y="1510184"/>
                  <a:pt x="902740" y="1517097"/>
                </a:cubicBezTo>
                <a:close/>
                <a:moveTo>
                  <a:pt x="914390" y="1216571"/>
                </a:moveTo>
                <a:cubicBezTo>
                  <a:pt x="914058" y="1230433"/>
                  <a:pt x="903119" y="1241376"/>
                  <a:pt x="889966" y="1241026"/>
                </a:cubicBezTo>
                <a:cubicBezTo>
                  <a:pt x="877033" y="1240676"/>
                  <a:pt x="866726" y="1229521"/>
                  <a:pt x="866749" y="1215890"/>
                </a:cubicBezTo>
                <a:cubicBezTo>
                  <a:pt x="866927" y="1201865"/>
                  <a:pt x="877866" y="1190651"/>
                  <a:pt x="891179" y="1190839"/>
                </a:cubicBezTo>
                <a:cubicBezTo>
                  <a:pt x="891179" y="1190839"/>
                  <a:pt x="891182" y="1190839"/>
                  <a:pt x="891182" y="1190839"/>
                </a:cubicBezTo>
                <a:cubicBezTo>
                  <a:pt x="904336" y="1191193"/>
                  <a:pt x="914728" y="1202713"/>
                  <a:pt x="914390" y="1216571"/>
                </a:cubicBezTo>
                <a:close/>
                <a:moveTo>
                  <a:pt x="914954" y="614844"/>
                </a:moveTo>
                <a:cubicBezTo>
                  <a:pt x="914640" y="628701"/>
                  <a:pt x="903724" y="639669"/>
                  <a:pt x="890571" y="639343"/>
                </a:cubicBezTo>
                <a:cubicBezTo>
                  <a:pt x="877638" y="639023"/>
                  <a:pt x="867312" y="627888"/>
                  <a:pt x="867308" y="614257"/>
                </a:cubicBezTo>
                <a:cubicBezTo>
                  <a:pt x="867485" y="600242"/>
                  <a:pt x="878391" y="589018"/>
                  <a:pt x="891694" y="589157"/>
                </a:cubicBezTo>
                <a:cubicBezTo>
                  <a:pt x="904848" y="589482"/>
                  <a:pt x="915263" y="600981"/>
                  <a:pt x="914954" y="614844"/>
                </a:cubicBezTo>
                <a:close/>
                <a:moveTo>
                  <a:pt x="925949" y="916046"/>
                </a:moveTo>
                <a:cubicBezTo>
                  <a:pt x="925433" y="936822"/>
                  <a:pt x="909027" y="953219"/>
                  <a:pt x="889311" y="952677"/>
                </a:cubicBezTo>
                <a:cubicBezTo>
                  <a:pt x="869961" y="952140"/>
                  <a:pt x="854537" y="935466"/>
                  <a:pt x="854533" y="915075"/>
                </a:cubicBezTo>
                <a:cubicBezTo>
                  <a:pt x="854791" y="894022"/>
                  <a:pt x="871197" y="877176"/>
                  <a:pt x="891179" y="877447"/>
                </a:cubicBezTo>
                <a:cubicBezTo>
                  <a:pt x="891179" y="877447"/>
                  <a:pt x="891183" y="877447"/>
                  <a:pt x="891183" y="877447"/>
                </a:cubicBezTo>
                <a:cubicBezTo>
                  <a:pt x="910899" y="877990"/>
                  <a:pt x="926468" y="895275"/>
                  <a:pt x="925949" y="916046"/>
                </a:cubicBezTo>
                <a:close/>
                <a:moveTo>
                  <a:pt x="1195666" y="1817916"/>
                </a:moveTo>
                <a:cubicBezTo>
                  <a:pt x="1195512" y="1824834"/>
                  <a:pt x="1190063" y="1830308"/>
                  <a:pt x="1183500" y="1830146"/>
                </a:cubicBezTo>
                <a:cubicBezTo>
                  <a:pt x="1177045" y="1829983"/>
                  <a:pt x="1171893" y="1824426"/>
                  <a:pt x="1171893" y="1817625"/>
                </a:cubicBezTo>
                <a:cubicBezTo>
                  <a:pt x="1171967" y="1810628"/>
                  <a:pt x="1177416" y="1805019"/>
                  <a:pt x="1184062" y="1805098"/>
                </a:cubicBezTo>
                <a:cubicBezTo>
                  <a:pt x="1190625" y="1805262"/>
                  <a:pt x="1195821" y="1811002"/>
                  <a:pt x="1195666" y="1817916"/>
                </a:cubicBezTo>
                <a:close/>
                <a:moveTo>
                  <a:pt x="1195666" y="614499"/>
                </a:moveTo>
                <a:cubicBezTo>
                  <a:pt x="1195512" y="621418"/>
                  <a:pt x="1190063" y="626892"/>
                  <a:pt x="1183500" y="626728"/>
                </a:cubicBezTo>
                <a:cubicBezTo>
                  <a:pt x="1177045" y="626566"/>
                  <a:pt x="1171893" y="621008"/>
                  <a:pt x="1171893" y="614208"/>
                </a:cubicBezTo>
                <a:cubicBezTo>
                  <a:pt x="1171995" y="607220"/>
                  <a:pt x="1177429" y="601628"/>
                  <a:pt x="1184062" y="601683"/>
                </a:cubicBezTo>
                <a:cubicBezTo>
                  <a:pt x="1190625" y="601845"/>
                  <a:pt x="1195821" y="607585"/>
                  <a:pt x="1195666" y="614499"/>
                </a:cubicBezTo>
                <a:close/>
                <a:moveTo>
                  <a:pt x="1195759" y="1216187"/>
                </a:moveTo>
                <a:cubicBezTo>
                  <a:pt x="1195633" y="1223131"/>
                  <a:pt x="1190184" y="1228650"/>
                  <a:pt x="1183594" y="1228511"/>
                </a:cubicBezTo>
                <a:cubicBezTo>
                  <a:pt x="1177078" y="1228378"/>
                  <a:pt x="1171869" y="1222761"/>
                  <a:pt x="1171892" y="1215891"/>
                </a:cubicBezTo>
                <a:cubicBezTo>
                  <a:pt x="1171994" y="1208904"/>
                  <a:pt x="1177429" y="1203312"/>
                  <a:pt x="1184062" y="1203366"/>
                </a:cubicBezTo>
                <a:cubicBezTo>
                  <a:pt x="1190653" y="1203504"/>
                  <a:pt x="1195891" y="1209239"/>
                  <a:pt x="1195759" y="1216187"/>
                </a:cubicBezTo>
                <a:close/>
                <a:moveTo>
                  <a:pt x="1207321" y="1517394"/>
                </a:moveTo>
                <a:cubicBezTo>
                  <a:pt x="1207007" y="1531251"/>
                  <a:pt x="1196091" y="1542218"/>
                  <a:pt x="1182939" y="1541894"/>
                </a:cubicBezTo>
                <a:cubicBezTo>
                  <a:pt x="1169987" y="1541572"/>
                  <a:pt x="1159652" y="1530408"/>
                  <a:pt x="1159675" y="1516757"/>
                </a:cubicBezTo>
                <a:cubicBezTo>
                  <a:pt x="1159852" y="1502752"/>
                  <a:pt x="1170768" y="1491543"/>
                  <a:pt x="1184062" y="1491706"/>
                </a:cubicBezTo>
                <a:cubicBezTo>
                  <a:pt x="1197215" y="1492031"/>
                  <a:pt x="1207630" y="1503532"/>
                  <a:pt x="1207321" y="1517394"/>
                </a:cubicBezTo>
                <a:close/>
                <a:moveTo>
                  <a:pt x="1207322" y="915661"/>
                </a:moveTo>
                <a:cubicBezTo>
                  <a:pt x="1207008" y="929518"/>
                  <a:pt x="1196092" y="940486"/>
                  <a:pt x="1182939" y="940160"/>
                </a:cubicBezTo>
                <a:cubicBezTo>
                  <a:pt x="1170006" y="939840"/>
                  <a:pt x="1159679" y="928705"/>
                  <a:pt x="1159676" y="915074"/>
                </a:cubicBezTo>
                <a:cubicBezTo>
                  <a:pt x="1159853" y="901059"/>
                  <a:pt x="1170759" y="889835"/>
                  <a:pt x="1184062" y="889974"/>
                </a:cubicBezTo>
                <a:cubicBezTo>
                  <a:pt x="1197216" y="890299"/>
                  <a:pt x="1207631" y="901798"/>
                  <a:pt x="1207322" y="915661"/>
                </a:cubicBezTo>
                <a:close/>
                <a:moveTo>
                  <a:pt x="1488593" y="915365"/>
                </a:moveTo>
                <a:cubicBezTo>
                  <a:pt x="1488439" y="922284"/>
                  <a:pt x="1482990" y="927758"/>
                  <a:pt x="1476427" y="927595"/>
                </a:cubicBezTo>
                <a:cubicBezTo>
                  <a:pt x="1469973" y="927432"/>
                  <a:pt x="1464819" y="921875"/>
                  <a:pt x="1464819" y="915075"/>
                </a:cubicBezTo>
                <a:cubicBezTo>
                  <a:pt x="1464895" y="908077"/>
                  <a:pt x="1470343" y="902469"/>
                  <a:pt x="1476989" y="902549"/>
                </a:cubicBezTo>
                <a:cubicBezTo>
                  <a:pt x="1483552" y="902712"/>
                  <a:pt x="1488748" y="908452"/>
                  <a:pt x="1488593" y="915365"/>
                </a:cubicBezTo>
                <a:close/>
                <a:moveTo>
                  <a:pt x="1500150" y="614839"/>
                </a:moveTo>
                <a:cubicBezTo>
                  <a:pt x="1499817" y="628672"/>
                  <a:pt x="1488901" y="639595"/>
                  <a:pt x="1475772" y="639245"/>
                </a:cubicBezTo>
                <a:cubicBezTo>
                  <a:pt x="1462886" y="638895"/>
                  <a:pt x="1452606" y="627789"/>
                  <a:pt x="1452603" y="614209"/>
                </a:cubicBezTo>
                <a:cubicBezTo>
                  <a:pt x="1452780" y="600203"/>
                  <a:pt x="1463691" y="588994"/>
                  <a:pt x="1476989" y="589157"/>
                </a:cubicBezTo>
                <a:cubicBezTo>
                  <a:pt x="1490119" y="589512"/>
                  <a:pt x="1500487" y="601012"/>
                  <a:pt x="1500150" y="614839"/>
                </a:cubicBezTo>
                <a:close/>
                <a:moveTo>
                  <a:pt x="1500248" y="1818211"/>
                </a:moveTo>
                <a:cubicBezTo>
                  <a:pt x="1499934" y="1832069"/>
                  <a:pt x="1489018" y="1843037"/>
                  <a:pt x="1475865" y="1842711"/>
                </a:cubicBezTo>
                <a:cubicBezTo>
                  <a:pt x="1462932" y="1842391"/>
                  <a:pt x="1452605" y="1831256"/>
                  <a:pt x="1452602" y="1817625"/>
                </a:cubicBezTo>
                <a:cubicBezTo>
                  <a:pt x="1452779" y="1803609"/>
                  <a:pt x="1463685" y="1792385"/>
                  <a:pt x="1476988" y="1792523"/>
                </a:cubicBezTo>
                <a:cubicBezTo>
                  <a:pt x="1490142" y="1792848"/>
                  <a:pt x="1500557" y="1804348"/>
                  <a:pt x="1500248" y="1818211"/>
                </a:cubicBezTo>
                <a:close/>
                <a:moveTo>
                  <a:pt x="1500248" y="1216527"/>
                </a:moveTo>
                <a:cubicBezTo>
                  <a:pt x="1499934" y="1230385"/>
                  <a:pt x="1489018" y="1241353"/>
                  <a:pt x="1475865" y="1241027"/>
                </a:cubicBezTo>
                <a:cubicBezTo>
                  <a:pt x="1462913" y="1240707"/>
                  <a:pt x="1452578" y="1229542"/>
                  <a:pt x="1452602" y="1215892"/>
                </a:cubicBezTo>
                <a:cubicBezTo>
                  <a:pt x="1452807" y="1201896"/>
                  <a:pt x="1463705" y="1190702"/>
                  <a:pt x="1476988" y="1190841"/>
                </a:cubicBezTo>
                <a:cubicBezTo>
                  <a:pt x="1490142" y="1191166"/>
                  <a:pt x="1500557" y="1202665"/>
                  <a:pt x="1500248" y="1216527"/>
                </a:cubicBezTo>
                <a:close/>
                <a:moveTo>
                  <a:pt x="1511805" y="1517734"/>
                </a:moveTo>
                <a:cubicBezTo>
                  <a:pt x="1511313" y="1538505"/>
                  <a:pt x="1494930" y="1554927"/>
                  <a:pt x="1475210" y="1554408"/>
                </a:cubicBezTo>
                <a:cubicBezTo>
                  <a:pt x="1455822" y="1553901"/>
                  <a:pt x="1440365" y="1537188"/>
                  <a:pt x="1440385" y="1516757"/>
                </a:cubicBezTo>
                <a:cubicBezTo>
                  <a:pt x="1440666" y="1495744"/>
                  <a:pt x="1457039" y="1478933"/>
                  <a:pt x="1476988" y="1479180"/>
                </a:cubicBezTo>
                <a:cubicBezTo>
                  <a:pt x="1496709" y="1479697"/>
                  <a:pt x="1512297" y="1496958"/>
                  <a:pt x="1511805" y="1517734"/>
                </a:cubicBezTo>
                <a:close/>
                <a:moveTo>
                  <a:pt x="1511805" y="314319"/>
                </a:moveTo>
                <a:cubicBezTo>
                  <a:pt x="1511313" y="335090"/>
                  <a:pt x="1494930" y="351512"/>
                  <a:pt x="1475210" y="350994"/>
                </a:cubicBezTo>
                <a:cubicBezTo>
                  <a:pt x="1455822" y="350486"/>
                  <a:pt x="1440365" y="333774"/>
                  <a:pt x="1440385" y="313342"/>
                </a:cubicBezTo>
                <a:cubicBezTo>
                  <a:pt x="1440666" y="292330"/>
                  <a:pt x="1457039" y="275519"/>
                  <a:pt x="1476988" y="275765"/>
                </a:cubicBezTo>
                <a:cubicBezTo>
                  <a:pt x="1496709" y="276283"/>
                  <a:pt x="1512297" y="293542"/>
                  <a:pt x="1511805" y="314319"/>
                </a:cubicBezTo>
                <a:close/>
                <a:moveTo>
                  <a:pt x="1781519" y="1817916"/>
                </a:moveTo>
                <a:cubicBezTo>
                  <a:pt x="1781365" y="1824834"/>
                  <a:pt x="1775915" y="1830308"/>
                  <a:pt x="1769353" y="1830146"/>
                </a:cubicBezTo>
                <a:cubicBezTo>
                  <a:pt x="1762898" y="1829983"/>
                  <a:pt x="1757746" y="1824426"/>
                  <a:pt x="1757746" y="1817625"/>
                </a:cubicBezTo>
                <a:cubicBezTo>
                  <a:pt x="1757820" y="1810628"/>
                  <a:pt x="1763269" y="1805019"/>
                  <a:pt x="1769915" y="1805098"/>
                </a:cubicBezTo>
                <a:cubicBezTo>
                  <a:pt x="1776478" y="1805262"/>
                  <a:pt x="1781674" y="1811002"/>
                  <a:pt x="1781519" y="1817916"/>
                </a:cubicBezTo>
                <a:close/>
                <a:moveTo>
                  <a:pt x="1781519" y="915365"/>
                </a:moveTo>
                <a:cubicBezTo>
                  <a:pt x="1781365" y="922284"/>
                  <a:pt x="1775916" y="927758"/>
                  <a:pt x="1769353" y="927595"/>
                </a:cubicBezTo>
                <a:cubicBezTo>
                  <a:pt x="1762898" y="927432"/>
                  <a:pt x="1757746" y="921875"/>
                  <a:pt x="1757746" y="915075"/>
                </a:cubicBezTo>
                <a:cubicBezTo>
                  <a:pt x="1757820" y="908077"/>
                  <a:pt x="1763269" y="902469"/>
                  <a:pt x="1769915" y="902549"/>
                </a:cubicBezTo>
                <a:cubicBezTo>
                  <a:pt x="1776478" y="902712"/>
                  <a:pt x="1781674" y="908452"/>
                  <a:pt x="1781519" y="915365"/>
                </a:cubicBezTo>
                <a:close/>
                <a:moveTo>
                  <a:pt x="1781519" y="614499"/>
                </a:moveTo>
                <a:cubicBezTo>
                  <a:pt x="1781365" y="621418"/>
                  <a:pt x="1775916" y="626892"/>
                  <a:pt x="1769353" y="626728"/>
                </a:cubicBezTo>
                <a:cubicBezTo>
                  <a:pt x="1762898" y="626566"/>
                  <a:pt x="1757746" y="621008"/>
                  <a:pt x="1757746" y="614208"/>
                </a:cubicBezTo>
                <a:cubicBezTo>
                  <a:pt x="1757848" y="607220"/>
                  <a:pt x="1763282" y="601628"/>
                  <a:pt x="1769915" y="601683"/>
                </a:cubicBezTo>
                <a:cubicBezTo>
                  <a:pt x="1776478" y="601845"/>
                  <a:pt x="1781674" y="607585"/>
                  <a:pt x="1781519" y="614499"/>
                </a:cubicBezTo>
                <a:close/>
                <a:moveTo>
                  <a:pt x="1781519" y="12816"/>
                </a:moveTo>
                <a:cubicBezTo>
                  <a:pt x="1781365" y="19735"/>
                  <a:pt x="1775916" y="25209"/>
                  <a:pt x="1769353" y="25046"/>
                </a:cubicBezTo>
                <a:cubicBezTo>
                  <a:pt x="1762898" y="24883"/>
                  <a:pt x="1757746" y="19326"/>
                  <a:pt x="1757746" y="12526"/>
                </a:cubicBezTo>
                <a:cubicBezTo>
                  <a:pt x="1757820" y="5528"/>
                  <a:pt x="1763269" y="-80"/>
                  <a:pt x="1769915" y="0"/>
                </a:cubicBezTo>
                <a:cubicBezTo>
                  <a:pt x="1776478" y="163"/>
                  <a:pt x="1781674" y="5903"/>
                  <a:pt x="1781519" y="12816"/>
                </a:cubicBezTo>
                <a:close/>
                <a:moveTo>
                  <a:pt x="1781612" y="1216187"/>
                </a:moveTo>
                <a:cubicBezTo>
                  <a:pt x="1781486" y="1223131"/>
                  <a:pt x="1776037" y="1228650"/>
                  <a:pt x="1769447" y="1228511"/>
                </a:cubicBezTo>
                <a:cubicBezTo>
                  <a:pt x="1762931" y="1228378"/>
                  <a:pt x="1757722" y="1222761"/>
                  <a:pt x="1757745" y="1215891"/>
                </a:cubicBezTo>
                <a:cubicBezTo>
                  <a:pt x="1757847" y="1208904"/>
                  <a:pt x="1763282" y="1203312"/>
                  <a:pt x="1769915" y="1203366"/>
                </a:cubicBezTo>
                <a:cubicBezTo>
                  <a:pt x="1776506" y="1203504"/>
                  <a:pt x="1781744" y="1209239"/>
                  <a:pt x="1781612" y="1216187"/>
                </a:cubicBezTo>
                <a:close/>
                <a:moveTo>
                  <a:pt x="1793174" y="313979"/>
                </a:moveTo>
                <a:cubicBezTo>
                  <a:pt x="1792860" y="327836"/>
                  <a:pt x="1781945" y="338803"/>
                  <a:pt x="1768792" y="338478"/>
                </a:cubicBezTo>
                <a:cubicBezTo>
                  <a:pt x="1755840" y="338157"/>
                  <a:pt x="1745505" y="326993"/>
                  <a:pt x="1745528" y="313342"/>
                </a:cubicBezTo>
                <a:cubicBezTo>
                  <a:pt x="1745734" y="299347"/>
                  <a:pt x="1756631" y="288152"/>
                  <a:pt x="1769916" y="288291"/>
                </a:cubicBezTo>
                <a:cubicBezTo>
                  <a:pt x="1783068" y="288617"/>
                  <a:pt x="1793483" y="300116"/>
                  <a:pt x="1793174" y="313979"/>
                </a:cubicBezTo>
                <a:close/>
                <a:moveTo>
                  <a:pt x="1793175" y="1517394"/>
                </a:moveTo>
                <a:cubicBezTo>
                  <a:pt x="1792861" y="1531251"/>
                  <a:pt x="1781945" y="1542219"/>
                  <a:pt x="1768792" y="1541894"/>
                </a:cubicBezTo>
                <a:cubicBezTo>
                  <a:pt x="1755840" y="1541573"/>
                  <a:pt x="1745505" y="1530408"/>
                  <a:pt x="1745528" y="1516758"/>
                </a:cubicBezTo>
                <a:cubicBezTo>
                  <a:pt x="1745706" y="1502753"/>
                  <a:pt x="1756622" y="1491543"/>
                  <a:pt x="1769916" y="1491706"/>
                </a:cubicBezTo>
                <a:cubicBezTo>
                  <a:pt x="1783069" y="1492032"/>
                  <a:pt x="1793484" y="1503532"/>
                  <a:pt x="1793175" y="1517394"/>
                </a:cubicBezTo>
                <a:close/>
              </a:path>
            </a:pathLst>
          </a:custGeom>
          <a:solidFill>
            <a:schemeClr val="tx2"/>
          </a:solidFill>
          <a:ln w="48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1073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3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2">
    <p:bg>
      <p:bgPr>
        <a:solidFill>
          <a:schemeClr val="accent3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7524750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E677F3D-D716-40EC-B7B4-F4977570E1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7249" y="3044758"/>
            <a:ext cx="1839414" cy="1796190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8FD492-2D24-4BF8-AE54-A527D3C947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338" y="1384301"/>
            <a:ext cx="3600450" cy="3240088"/>
          </a:xfrm>
        </p:spPr>
        <p:txBody>
          <a:bodyPr/>
          <a:lstStyle>
            <a:lvl1pPr marL="0" indent="0">
              <a:buNone/>
              <a:defRPr/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6024D76-B1AD-4C6E-B1D2-9BADC8ED8B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11638" y="1384301"/>
            <a:ext cx="3600450" cy="3240088"/>
          </a:xfrm>
        </p:spPr>
        <p:txBody>
          <a:bodyPr/>
          <a:lstStyle>
            <a:lvl1pPr marL="0" indent="0">
              <a:buNone/>
              <a:defRPr/>
            </a:lvl1pPr>
            <a:lvl2pPr marL="179384" indent="0">
              <a:buNone/>
              <a:defRPr/>
            </a:lvl2pPr>
            <a:lvl3pPr marL="360353" indent="0">
              <a:buNone/>
              <a:defRPr/>
            </a:lvl3pPr>
            <a:lvl4pPr marL="539737" indent="0">
              <a:buNone/>
              <a:defRPr/>
            </a:lvl4pPr>
            <a:lvl5pPr marL="71911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5699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49">
          <p15:clr>
            <a:srgbClr val="FBAE40"/>
          </p15:clr>
        </p15:guide>
        <p15:guide id="2" pos="2653">
          <p15:clr>
            <a:srgbClr val="FBAE40"/>
          </p15:clr>
        </p15:guide>
        <p15:guide id="3" pos="492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96702BE-8DDA-4141-820E-8AEE85BB00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7339" y="1384300"/>
            <a:ext cx="2736850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626E9252-67B5-44BC-914E-DC52F84651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03574" y="1384300"/>
            <a:ext cx="2736850" cy="3252702"/>
          </a:xfrm>
        </p:spPr>
        <p:txBody>
          <a:bodyPr/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1D028AD5-C27D-4A54-B587-543EDEDCE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19814" y="1384300"/>
            <a:ext cx="2736850" cy="3252702"/>
          </a:xfrm>
        </p:spPr>
        <p:txBody>
          <a:bodyPr/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5028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05">
          <p15:clr>
            <a:srgbClr val="FBAE40"/>
          </p15:clr>
        </p15:guide>
        <p15:guide id="2" pos="2018">
          <p15:clr>
            <a:srgbClr val="FBAE40"/>
          </p15:clr>
        </p15:guide>
        <p15:guide id="3" pos="3742">
          <p15:clr>
            <a:srgbClr val="FBAE40"/>
          </p15:clr>
        </p15:guide>
        <p15:guide id="4" pos="3855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CFFCB23-D261-4EEF-AB85-1BD6EF09DF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1384300"/>
            <a:ext cx="1998662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FC5C668-368E-4EE4-B072-C1F003E769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76501" y="1384300"/>
            <a:ext cx="1998662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86C8A71D-B40E-4849-81A7-D752EF5F8A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65663" y="1384300"/>
            <a:ext cx="1998662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B3C3DE41-C5A2-47F0-8966-C5CF80B1A4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58001" y="1384300"/>
            <a:ext cx="1998662" cy="325270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73962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4320">
          <p15:clr>
            <a:srgbClr val="FBAE40"/>
          </p15:clr>
        </p15:guide>
        <p15:guide id="5" pos="1560">
          <p15:clr>
            <a:srgbClr val="FBAE40"/>
          </p15:clr>
        </p15:guide>
        <p15:guide id="6" pos="2822">
          <p15:clr>
            <a:srgbClr val="FBAE40"/>
          </p15:clr>
        </p15:guide>
        <p15:guide id="7" pos="2941">
          <p15:clr>
            <a:srgbClr val="FBAE40"/>
          </p15:clr>
        </p15:guide>
        <p15:guide id="8" pos="4204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DB37055-18D0-4167-842A-28E3217E49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338" y="1384301"/>
            <a:ext cx="1566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0AD3BE6F-9CAC-42E3-9FDB-BB76C5757B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034450" y="1384301"/>
            <a:ext cx="1566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E5DF87C-1B84-491A-8BE0-03F3EBFD02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88999" y="1384301"/>
            <a:ext cx="1566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5647C692-E63D-49B1-87FE-EBCEE07743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44413" y="1384301"/>
            <a:ext cx="1566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93A47FA5-323D-4520-BD12-CAE3891837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290663" y="1384301"/>
            <a:ext cx="1566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0973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68">
          <p15:clr>
            <a:srgbClr val="FBAE40"/>
          </p15:clr>
        </p15:guide>
        <p15:guide id="4" pos="4479">
          <p15:clr>
            <a:srgbClr val="FBAE40"/>
          </p15:clr>
        </p15:guide>
        <p15:guide id="5" pos="1281">
          <p15:clr>
            <a:srgbClr val="FBAE40"/>
          </p15:clr>
        </p15:guide>
        <p15:guide id="6" pos="2268">
          <p15:clr>
            <a:srgbClr val="FBAE40"/>
          </p15:clr>
        </p15:guide>
        <p15:guide id="7" pos="2381">
          <p15:clr>
            <a:srgbClr val="FBAE40"/>
          </p15:clr>
        </p15:guide>
        <p15:guide id="8" pos="4589">
          <p15:clr>
            <a:srgbClr val="FBAE40"/>
          </p15:clr>
        </p15:guide>
        <p15:guide id="9" pos="3379">
          <p15:clr>
            <a:srgbClr val="FBAE40"/>
          </p15:clr>
        </p15:guide>
        <p15:guide id="10" pos="3492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DB37055-18D0-4167-842A-28E3217E49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338" y="1384301"/>
            <a:ext cx="1278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0AD3BE6F-9CAC-42E3-9FDB-BB76C5757B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45014" y="1384301"/>
            <a:ext cx="1278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E5DF87C-1B84-491A-8BE0-03F3EBFD02F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02690" y="1384301"/>
            <a:ext cx="1278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5647C692-E63D-49B1-87FE-EBCEE07743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60366" y="1384301"/>
            <a:ext cx="1278000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93A47FA5-323D-4520-BD12-CAE3891837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18042" y="1384301"/>
            <a:ext cx="1279472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5F8C725A-89A3-4153-BB30-F09829AE080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577191" y="1384301"/>
            <a:ext cx="1279472" cy="3240088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87311" indent="0">
              <a:buNone/>
              <a:defRPr sz="800"/>
            </a:lvl2pPr>
            <a:lvl3pPr marL="179383" indent="0">
              <a:buNone/>
              <a:defRPr sz="800"/>
            </a:lvl3pPr>
            <a:lvl4pPr marL="266693" indent="0">
              <a:buNone/>
              <a:defRPr sz="800"/>
            </a:lvl4pPr>
            <a:lvl5pPr marL="360353" indent="0">
              <a:buNone/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91166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87">
          <p15:clr>
            <a:srgbClr val="FBAE40"/>
          </p15:clr>
        </p15:guide>
        <p15:guide id="4" pos="3742">
          <p15:clr>
            <a:srgbClr val="FBAE40"/>
          </p15:clr>
        </p15:guide>
        <p15:guide id="5" pos="1097">
          <p15:clr>
            <a:srgbClr val="FBAE40"/>
          </p15:clr>
        </p15:guide>
        <p15:guide id="6" pos="1906">
          <p15:clr>
            <a:srgbClr val="FBAE40"/>
          </p15:clr>
        </p15:guide>
        <p15:guide id="7" pos="2016">
          <p15:clr>
            <a:srgbClr val="FBAE40"/>
          </p15:clr>
        </p15:guide>
        <p15:guide id="8" pos="4660">
          <p15:clr>
            <a:srgbClr val="FBAE40"/>
          </p15:clr>
        </p15:guide>
        <p15:guide id="9" pos="2825">
          <p15:clr>
            <a:srgbClr val="FBAE40"/>
          </p15:clr>
        </p15:guide>
        <p15:guide id="10" pos="2935">
          <p15:clr>
            <a:srgbClr val="FBAE40"/>
          </p15:clr>
        </p15:guide>
        <p15:guide id="11" pos="4770">
          <p15:clr>
            <a:srgbClr val="FBAE40"/>
          </p15:clr>
        </p15:guide>
        <p15:guide id="12" pos="3855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and tex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9B8376A-3F2F-4D41-BC8B-1C257493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endParaRPr lang="en-US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4C88DCC-E2CF-4C92-BB09-0F1056975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8" y="2938410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D58F12-3A40-4AD6-B65A-AAC2F3E79D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7339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A68EE013-AE2A-4248-8BCF-2E64E6BABDD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478281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11CE9E7-F377-4DD8-A11A-DDDEDEC0BC6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69225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C5781105-3433-4B25-8A2C-71205B96E3F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860167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E390B699-9829-4C4D-9271-54B5879B36A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8282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endParaRPr lang="en-US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63A6803F-D4D2-4ED2-A99D-780C639CA5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78282" y="2938410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14BB3F-0B6E-49DE-98D5-69F9B40A1CC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69225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endParaRPr lang="en-US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FE678802-AB38-4C6E-AE7F-BDD84189529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69225" y="2938410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92B200A8-A390-4184-A558-D2CFC7EE0D3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60167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endParaRPr lang="en-US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A3730497-CA66-4CCE-9128-3C544C7579B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860167" y="2938410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223238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1560">
          <p15:clr>
            <a:srgbClr val="FBAE40"/>
          </p15:clr>
        </p15:guide>
        <p15:guide id="5" pos="2822">
          <p15:clr>
            <a:srgbClr val="FBAE40"/>
          </p15:clr>
        </p15:guide>
        <p15:guide id="6" pos="2938">
          <p15:clr>
            <a:srgbClr val="FBAE40"/>
          </p15:clr>
        </p15:guide>
        <p15:guide id="7" pos="4200">
          <p15:clr>
            <a:srgbClr val="FBAE40"/>
          </p15:clr>
        </p15:guide>
        <p15:guide id="8" pos="432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and text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9B8376A-3F2F-4D41-BC8B-1C257493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endParaRPr lang="en-US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4C88DCC-E2CF-4C92-BB09-0F1056975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8" y="2938410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bg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D58F12-3A40-4AD6-B65A-AAC2F3E79D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7339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A68EE013-AE2A-4248-8BCF-2E64E6BABDD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478281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11CE9E7-F377-4DD8-A11A-DDDEDEC0BC6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669225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C5781105-3433-4B25-8A2C-71205B96E3F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860167" y="1824038"/>
            <a:ext cx="611187" cy="523875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E390B699-9829-4C4D-9271-54B5879B36A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8282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endParaRPr lang="en-US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63A6803F-D4D2-4ED2-A99D-780C639CA5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78282" y="2938410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bg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F14BB3F-0B6E-49DE-98D5-69F9B40A1CC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69225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endParaRPr lang="en-US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FE678802-AB38-4C6E-AE7F-BDD84189529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69225" y="2938410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bg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92B200A8-A390-4184-A558-D2CFC7EE0D3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60167" y="2465798"/>
            <a:ext cx="1998662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endParaRPr lang="en-US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8B535D04-089D-4C0C-B8F6-D5DF48A1F41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860167" y="2938410"/>
            <a:ext cx="1998662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bg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74461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1560">
          <p15:clr>
            <a:srgbClr val="FBAE40"/>
          </p15:clr>
        </p15:guide>
        <p15:guide id="5" pos="2822">
          <p15:clr>
            <a:srgbClr val="FBAE40"/>
          </p15:clr>
        </p15:guide>
        <p15:guide id="6" pos="2938">
          <p15:clr>
            <a:srgbClr val="FBAE40"/>
          </p15:clr>
        </p15:guide>
        <p15:guide id="7" pos="4200">
          <p15:clr>
            <a:srgbClr val="FBAE40"/>
          </p15:clr>
        </p15:guide>
        <p15:guide id="8" pos="432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tex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9B8376A-3F2F-4D41-BC8B-1C257493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7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4C88DCC-E2CF-4C92-BB09-0F1056975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7" y="2938410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D58F12-3A40-4AD6-B65A-AAC2F3E79D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7338" y="1464069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2EE733A6-DEFC-4650-AE8D-E0D5B5C822C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742127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0ECACEAF-4E8A-409F-A96A-C0ECA46B888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196915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706FA668-9394-42F3-85C8-613D5085530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651702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70A1D5F1-0CEC-4928-BDB1-6C2DDC0D3FD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106491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A212763A-D03F-49D4-91C6-ECC7A02C98EA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561278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5D4BA8B6-B69C-4AC9-8D15-DD18D74DB2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45602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5E3F21CB-3D54-489B-9A30-3A854B8F196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203867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1DA71580-ECB2-4D09-8897-C50E57D035C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62132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6B150BEA-75D4-4BD8-A296-50A0131D4DB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120397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2F7F8C6F-C4E5-4F61-83A3-6E5BA86DC75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78663" y="2465798"/>
            <a:ext cx="1278000" cy="39871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CF887BEC-8696-44FA-AAEB-11CDA42F6C8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744120" y="2938410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6778262D-D493-48E0-BD79-6361B86EC9B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00903" y="2938410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1BD87ADC-1E7C-4187-A8A9-9112E6E2AC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657686" y="2938410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35001C77-91F2-4B03-8C37-FB1467681A8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14469" y="2938410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138A40E3-EB52-48DE-8ADF-840BA50D192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571254" y="2938410"/>
            <a:ext cx="1278000" cy="168598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98644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1560">
          <p15:clr>
            <a:srgbClr val="FBAE40"/>
          </p15:clr>
        </p15:guide>
        <p15:guide id="5" pos="2822">
          <p15:clr>
            <a:srgbClr val="FBAE40"/>
          </p15:clr>
        </p15:guide>
        <p15:guide id="6" pos="2938">
          <p15:clr>
            <a:srgbClr val="FBAE40"/>
          </p15:clr>
        </p15:guide>
        <p15:guide id="7" pos="4200">
          <p15:clr>
            <a:srgbClr val="FBAE40"/>
          </p15:clr>
        </p15:guide>
        <p15:guide id="8" pos="432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text 2">
    <p:bg>
      <p:bgPr>
        <a:solidFill>
          <a:schemeClr val="accent3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4"/>
            <a:ext cx="8569325" cy="1008064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9B8376A-3F2F-4D41-BC8B-1C257493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4C88DCC-E2CF-4C92-BB09-0F1056975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7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D58F12-3A40-4AD6-B65A-AAC2F3E79D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7338" y="1464069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2EE733A6-DEFC-4650-AE8D-E0D5B5C822C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742127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0ECACEAF-4E8A-409F-A96A-C0ECA46B888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196915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706FA668-9394-42F3-85C8-613D5085530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651702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70A1D5F1-0CEC-4928-BDB1-6C2DDC0D3FD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106491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A212763A-D03F-49D4-91C6-ECC7A02C98EA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561278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5D4BA8B6-B69C-4AC9-8D15-DD18D74DB2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45602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5E3F21CB-3D54-489B-9A30-3A854B8F196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20386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1DA71580-ECB2-4D09-8897-C50E57D035C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62132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6B150BEA-75D4-4BD8-A296-50A0131D4DB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12039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2F7F8C6F-C4E5-4F61-83A3-6E5BA86DC75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78663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CF887BEC-8696-44FA-AAEB-11CDA42F6C8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744120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6778262D-D493-48E0-BD79-6361B86EC9B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00903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1BD87ADC-1E7C-4187-A8A9-9112E6E2AC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657686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35001C77-91F2-4B03-8C37-FB1467681A8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14469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138A40E3-EB52-48DE-8ADF-840BA50D192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571254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391664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1560">
          <p15:clr>
            <a:srgbClr val="FBAE40"/>
          </p15:clr>
        </p15:guide>
        <p15:guide id="5" pos="2822">
          <p15:clr>
            <a:srgbClr val="FBAE40"/>
          </p15:clr>
        </p15:guide>
        <p15:guide id="6" pos="2938">
          <p15:clr>
            <a:srgbClr val="FBAE40"/>
          </p15:clr>
        </p15:guide>
        <p15:guide id="7" pos="4200">
          <p15:clr>
            <a:srgbClr val="FBAE40"/>
          </p15:clr>
        </p15:guide>
        <p15:guide id="8" pos="432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 and text 3">
    <p:bg>
      <p:bgPr>
        <a:solidFill>
          <a:schemeClr val="accent3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8313A7A-AD91-4ED9-8CF5-6890BC33877C}"/>
              </a:ext>
            </a:extLst>
          </p:cNvPr>
          <p:cNvSpPr/>
          <p:nvPr userDrawn="1"/>
        </p:nvSpPr>
        <p:spPr>
          <a:xfrm>
            <a:off x="0" y="1"/>
            <a:ext cx="9144000" cy="1936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9" y="231775"/>
            <a:ext cx="8569325" cy="1008063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C0313-4EA4-48A0-A531-E93C53FF331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ecember 14, 2021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0C9ABF4-1A54-48FC-88F8-6C42D2B6191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5FA7A1-11B4-40F4-A8CD-4F86F2596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9B8376A-3F2F-4D41-BC8B-1C257493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33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  <a:p>
            <a:pPr lvl="1"/>
            <a:endParaRPr lang="en-US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44C88DCC-E2CF-4C92-BB09-0F1056975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7337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AD58F12-3A40-4AD6-B65A-AAC2F3E79D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87338" y="1464069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2EE733A6-DEFC-4650-AE8D-E0D5B5C822C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742127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4">
            <a:extLst>
              <a:ext uri="{FF2B5EF4-FFF2-40B4-BE49-F238E27FC236}">
                <a16:creationId xmlns:a16="http://schemas.microsoft.com/office/drawing/2014/main" id="{0ECACEAF-4E8A-409F-A96A-C0ECA46B888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196915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706FA668-9394-42F3-85C8-613D5085530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651702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70A1D5F1-0CEC-4928-BDB1-6C2DDC0D3FD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106491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A212763A-D03F-49D4-91C6-ECC7A02C98EA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561278" y="1463748"/>
            <a:ext cx="940424" cy="883846"/>
          </a:xfrm>
          <a:solidFill>
            <a:schemeClr val="bg1">
              <a:lumMod val="7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5D4BA8B6-B69C-4AC9-8D15-DD18D74DB2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45602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5E3F21CB-3D54-489B-9A30-3A854B8F196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20386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1DA71580-ECB2-4D09-8897-C50E57D035C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662132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6B150BEA-75D4-4BD8-A296-50A0131D4DB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120397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2F7F8C6F-C4E5-4F61-83A3-6E5BA86DC75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578663" y="2465798"/>
            <a:ext cx="1278000" cy="3987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384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dd text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CF887BEC-8696-44FA-AAEB-11CDA42F6C8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744120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6778262D-D493-48E0-BD79-6361B86EC9B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00903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1BD87ADC-1E7C-4187-A8A9-9112E6E2AC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657686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35001C77-91F2-4B03-8C37-FB1467681A8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14469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138A40E3-EB52-48DE-8ADF-840BA50D192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571254" y="2938410"/>
            <a:ext cx="1278000" cy="1685980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  <a:lvl2pPr marL="179384" indent="0">
              <a:buNone/>
              <a:defRPr sz="1000"/>
            </a:lvl2pPr>
            <a:lvl3pPr marL="360353" indent="0">
              <a:buNone/>
              <a:defRPr sz="1000"/>
            </a:lvl3pPr>
            <a:lvl4pPr marL="539737" indent="0">
              <a:buNone/>
              <a:defRPr sz="1000"/>
            </a:lvl4pPr>
            <a:lvl5pPr marL="719119" indent="0">
              <a:buNone/>
              <a:defRPr sz="1000"/>
            </a:lvl5pPr>
          </a:lstStyle>
          <a:p>
            <a:pPr marL="0" marR="0" lvl="0" indent="0" algn="l" defTabSz="685783" rtl="0" eaLnBrk="1" fontAlgn="auto" latinLnBrk="0" hangingPunct="1">
              <a:lnSpc>
                <a:spcPct val="88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12385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40">
          <p15:clr>
            <a:srgbClr val="FBAE40"/>
          </p15:clr>
        </p15:guide>
        <p15:guide id="4" pos="1560">
          <p15:clr>
            <a:srgbClr val="FBAE40"/>
          </p15:clr>
        </p15:guide>
        <p15:guide id="5" pos="2822">
          <p15:clr>
            <a:srgbClr val="FBAE40"/>
          </p15:clr>
        </p15:guide>
        <p15:guide id="6" pos="2938">
          <p15:clr>
            <a:srgbClr val="FBAE40"/>
          </p15:clr>
        </p15:guide>
        <p15:guide id="7" pos="4200">
          <p15:clr>
            <a:srgbClr val="FBAE40"/>
          </p15:clr>
        </p15:guide>
        <p15:guide id="8" pos="43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3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ags" Target="../tags/tag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9" Type="http://schemas.openxmlformats.org/officeDocument/2006/relationships/slideLayout" Target="../slideLayouts/slideLayout97.xml"/><Relationship Id="rId21" Type="http://schemas.openxmlformats.org/officeDocument/2006/relationships/slideLayout" Target="../slideLayouts/slideLayout79.xml"/><Relationship Id="rId34" Type="http://schemas.openxmlformats.org/officeDocument/2006/relationships/slideLayout" Target="../slideLayouts/slideLayout92.xml"/><Relationship Id="rId42" Type="http://schemas.openxmlformats.org/officeDocument/2006/relationships/slideLayout" Target="../slideLayouts/slideLayout100.xml"/><Relationship Id="rId47" Type="http://schemas.openxmlformats.org/officeDocument/2006/relationships/slideLayout" Target="../slideLayouts/slideLayout105.xml"/><Relationship Id="rId50" Type="http://schemas.openxmlformats.org/officeDocument/2006/relationships/slideLayout" Target="../slideLayouts/slideLayout108.xml"/><Relationship Id="rId55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9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32" Type="http://schemas.openxmlformats.org/officeDocument/2006/relationships/slideLayout" Target="../slideLayouts/slideLayout90.xml"/><Relationship Id="rId37" Type="http://schemas.openxmlformats.org/officeDocument/2006/relationships/slideLayout" Target="../slideLayouts/slideLayout95.xml"/><Relationship Id="rId40" Type="http://schemas.openxmlformats.org/officeDocument/2006/relationships/slideLayout" Target="../slideLayouts/slideLayout98.xml"/><Relationship Id="rId45" Type="http://schemas.openxmlformats.org/officeDocument/2006/relationships/slideLayout" Target="../slideLayouts/slideLayout103.xml"/><Relationship Id="rId53" Type="http://schemas.openxmlformats.org/officeDocument/2006/relationships/slideLayout" Target="../slideLayouts/slideLayout111.xml"/><Relationship Id="rId58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63.xml"/><Relationship Id="rId61" Type="http://schemas.openxmlformats.org/officeDocument/2006/relationships/theme" Target="../theme/theme3.xml"/><Relationship Id="rId1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slideLayout" Target="../slideLayouts/slideLayout88.xml"/><Relationship Id="rId35" Type="http://schemas.openxmlformats.org/officeDocument/2006/relationships/slideLayout" Target="../slideLayouts/slideLayout93.xml"/><Relationship Id="rId43" Type="http://schemas.openxmlformats.org/officeDocument/2006/relationships/slideLayout" Target="../slideLayouts/slideLayout101.xml"/><Relationship Id="rId48" Type="http://schemas.openxmlformats.org/officeDocument/2006/relationships/slideLayout" Target="../slideLayouts/slideLayout106.xml"/><Relationship Id="rId56" Type="http://schemas.openxmlformats.org/officeDocument/2006/relationships/slideLayout" Target="../slideLayouts/slideLayout114.xml"/><Relationship Id="rId8" Type="http://schemas.openxmlformats.org/officeDocument/2006/relationships/slideLayout" Target="../slideLayouts/slideLayout66.xml"/><Relationship Id="rId51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33" Type="http://schemas.openxmlformats.org/officeDocument/2006/relationships/slideLayout" Target="../slideLayouts/slideLayout91.xml"/><Relationship Id="rId38" Type="http://schemas.openxmlformats.org/officeDocument/2006/relationships/slideLayout" Target="../slideLayouts/slideLayout96.xml"/><Relationship Id="rId46" Type="http://schemas.openxmlformats.org/officeDocument/2006/relationships/slideLayout" Target="../slideLayouts/slideLayout104.xml"/><Relationship Id="rId59" Type="http://schemas.openxmlformats.org/officeDocument/2006/relationships/slideLayout" Target="../slideLayouts/slideLayout117.xml"/><Relationship Id="rId20" Type="http://schemas.openxmlformats.org/officeDocument/2006/relationships/slideLayout" Target="../slideLayouts/slideLayout78.xml"/><Relationship Id="rId41" Type="http://schemas.openxmlformats.org/officeDocument/2006/relationships/slideLayout" Target="../slideLayouts/slideLayout99.xml"/><Relationship Id="rId54" Type="http://schemas.openxmlformats.org/officeDocument/2006/relationships/slideLayout" Target="../slideLayouts/slideLayout112.xml"/><Relationship Id="rId62" Type="http://schemas.openxmlformats.org/officeDocument/2006/relationships/tags" Target="../tags/tag6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36" Type="http://schemas.openxmlformats.org/officeDocument/2006/relationships/slideLayout" Target="../slideLayouts/slideLayout94.xml"/><Relationship Id="rId49" Type="http://schemas.openxmlformats.org/officeDocument/2006/relationships/slideLayout" Target="../slideLayouts/slideLayout107.xml"/><Relationship Id="rId57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9.xml"/><Relationship Id="rId44" Type="http://schemas.openxmlformats.org/officeDocument/2006/relationships/slideLayout" Target="../slideLayouts/slideLayout102.xml"/><Relationship Id="rId52" Type="http://schemas.openxmlformats.org/officeDocument/2006/relationships/slideLayout" Target="../slideLayouts/slideLayout110.xml"/><Relationship Id="rId6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44.xml"/><Relationship Id="rId21" Type="http://schemas.openxmlformats.org/officeDocument/2006/relationships/slideLayout" Target="../slideLayouts/slideLayout139.xml"/><Relationship Id="rId34" Type="http://schemas.openxmlformats.org/officeDocument/2006/relationships/slideLayout" Target="../slideLayouts/slideLayout152.xml"/><Relationship Id="rId42" Type="http://schemas.openxmlformats.org/officeDocument/2006/relationships/slideLayout" Target="../slideLayouts/slideLayout160.xml"/><Relationship Id="rId47" Type="http://schemas.openxmlformats.org/officeDocument/2006/relationships/slideLayout" Target="../slideLayouts/slideLayout165.xml"/><Relationship Id="rId50" Type="http://schemas.openxmlformats.org/officeDocument/2006/relationships/slideLayout" Target="../slideLayouts/slideLayout168.xml"/><Relationship Id="rId55" Type="http://schemas.openxmlformats.org/officeDocument/2006/relationships/slideLayout" Target="../slideLayouts/slideLayout173.xml"/><Relationship Id="rId63" Type="http://schemas.openxmlformats.org/officeDocument/2006/relationships/tags" Target="../tags/tag9.xml"/><Relationship Id="rId7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9" Type="http://schemas.openxmlformats.org/officeDocument/2006/relationships/slideLayout" Target="../slideLayouts/slideLayout147.xml"/><Relationship Id="rId11" Type="http://schemas.openxmlformats.org/officeDocument/2006/relationships/slideLayout" Target="../slideLayouts/slideLayout129.xml"/><Relationship Id="rId24" Type="http://schemas.openxmlformats.org/officeDocument/2006/relationships/slideLayout" Target="../slideLayouts/slideLayout142.xml"/><Relationship Id="rId32" Type="http://schemas.openxmlformats.org/officeDocument/2006/relationships/slideLayout" Target="../slideLayouts/slideLayout150.xml"/><Relationship Id="rId37" Type="http://schemas.openxmlformats.org/officeDocument/2006/relationships/slideLayout" Target="../slideLayouts/slideLayout155.xml"/><Relationship Id="rId40" Type="http://schemas.openxmlformats.org/officeDocument/2006/relationships/slideLayout" Target="../slideLayouts/slideLayout158.xml"/><Relationship Id="rId45" Type="http://schemas.openxmlformats.org/officeDocument/2006/relationships/slideLayout" Target="../slideLayouts/slideLayout163.xml"/><Relationship Id="rId53" Type="http://schemas.openxmlformats.org/officeDocument/2006/relationships/slideLayout" Target="../slideLayouts/slideLayout171.xml"/><Relationship Id="rId58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23.xml"/><Relationship Id="rId61" Type="http://schemas.openxmlformats.org/officeDocument/2006/relationships/tags" Target="../tags/tag7.xml"/><Relationship Id="rId1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32.xml"/><Relationship Id="rId22" Type="http://schemas.openxmlformats.org/officeDocument/2006/relationships/slideLayout" Target="../slideLayouts/slideLayout140.xml"/><Relationship Id="rId27" Type="http://schemas.openxmlformats.org/officeDocument/2006/relationships/slideLayout" Target="../slideLayouts/slideLayout145.xml"/><Relationship Id="rId30" Type="http://schemas.openxmlformats.org/officeDocument/2006/relationships/slideLayout" Target="../slideLayouts/slideLayout148.xml"/><Relationship Id="rId35" Type="http://schemas.openxmlformats.org/officeDocument/2006/relationships/slideLayout" Target="../slideLayouts/slideLayout153.xml"/><Relationship Id="rId43" Type="http://schemas.openxmlformats.org/officeDocument/2006/relationships/slideLayout" Target="../slideLayouts/slideLayout161.xml"/><Relationship Id="rId48" Type="http://schemas.openxmlformats.org/officeDocument/2006/relationships/slideLayout" Target="../slideLayouts/slideLayout166.xml"/><Relationship Id="rId56" Type="http://schemas.openxmlformats.org/officeDocument/2006/relationships/slideLayout" Target="../slideLayouts/slideLayout174.xml"/><Relationship Id="rId64" Type="http://schemas.openxmlformats.org/officeDocument/2006/relationships/tags" Target="../tags/tag10.xml"/><Relationship Id="rId8" Type="http://schemas.openxmlformats.org/officeDocument/2006/relationships/slideLayout" Target="../slideLayouts/slideLayout126.xml"/><Relationship Id="rId51" Type="http://schemas.openxmlformats.org/officeDocument/2006/relationships/slideLayout" Target="../slideLayouts/slideLayout169.xml"/><Relationship Id="rId3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5" Type="http://schemas.openxmlformats.org/officeDocument/2006/relationships/slideLayout" Target="../slideLayouts/slideLayout143.xml"/><Relationship Id="rId33" Type="http://schemas.openxmlformats.org/officeDocument/2006/relationships/slideLayout" Target="../slideLayouts/slideLayout151.xml"/><Relationship Id="rId38" Type="http://schemas.openxmlformats.org/officeDocument/2006/relationships/slideLayout" Target="../slideLayouts/slideLayout156.xml"/><Relationship Id="rId46" Type="http://schemas.openxmlformats.org/officeDocument/2006/relationships/slideLayout" Target="../slideLayouts/slideLayout164.xml"/><Relationship Id="rId59" Type="http://schemas.openxmlformats.org/officeDocument/2006/relationships/slideLayout" Target="../slideLayouts/slideLayout177.xml"/><Relationship Id="rId20" Type="http://schemas.openxmlformats.org/officeDocument/2006/relationships/slideLayout" Target="../slideLayouts/slideLayout138.xml"/><Relationship Id="rId41" Type="http://schemas.openxmlformats.org/officeDocument/2006/relationships/slideLayout" Target="../slideLayouts/slideLayout159.xml"/><Relationship Id="rId54" Type="http://schemas.openxmlformats.org/officeDocument/2006/relationships/slideLayout" Target="../slideLayouts/slideLayout172.xml"/><Relationship Id="rId62" Type="http://schemas.openxmlformats.org/officeDocument/2006/relationships/tags" Target="../tags/tag8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5" Type="http://schemas.openxmlformats.org/officeDocument/2006/relationships/slideLayout" Target="../slideLayouts/slideLayout133.xml"/><Relationship Id="rId23" Type="http://schemas.openxmlformats.org/officeDocument/2006/relationships/slideLayout" Target="../slideLayouts/slideLayout141.xml"/><Relationship Id="rId28" Type="http://schemas.openxmlformats.org/officeDocument/2006/relationships/slideLayout" Target="../slideLayouts/slideLayout146.xml"/><Relationship Id="rId36" Type="http://schemas.openxmlformats.org/officeDocument/2006/relationships/slideLayout" Target="../slideLayouts/slideLayout154.xml"/><Relationship Id="rId49" Type="http://schemas.openxmlformats.org/officeDocument/2006/relationships/slideLayout" Target="../slideLayouts/slideLayout167.xml"/><Relationship Id="rId57" Type="http://schemas.openxmlformats.org/officeDocument/2006/relationships/slideLayout" Target="../slideLayouts/slideLayout175.xml"/><Relationship Id="rId10" Type="http://schemas.openxmlformats.org/officeDocument/2006/relationships/slideLayout" Target="../slideLayouts/slideLayout128.xml"/><Relationship Id="rId31" Type="http://schemas.openxmlformats.org/officeDocument/2006/relationships/slideLayout" Target="../slideLayouts/slideLayout149.xml"/><Relationship Id="rId44" Type="http://schemas.openxmlformats.org/officeDocument/2006/relationships/slideLayout" Target="../slideLayouts/slideLayout162.xml"/><Relationship Id="rId52" Type="http://schemas.openxmlformats.org/officeDocument/2006/relationships/slideLayout" Target="../slideLayouts/slideLayout170.xml"/><Relationship Id="rId60" Type="http://schemas.openxmlformats.org/officeDocument/2006/relationships/theme" Target="../theme/theme4.xml"/><Relationship Id="rId65" Type="http://schemas.openxmlformats.org/officeDocument/2006/relationships/tags" Target="../tags/tag11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39" Type="http://schemas.openxmlformats.org/officeDocument/2006/relationships/slideLayout" Target="../slideLayouts/slideLayout157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03.xml"/><Relationship Id="rId21" Type="http://schemas.openxmlformats.org/officeDocument/2006/relationships/slideLayout" Target="../slideLayouts/slideLayout198.xml"/><Relationship Id="rId34" Type="http://schemas.openxmlformats.org/officeDocument/2006/relationships/slideLayout" Target="../slideLayouts/slideLayout211.xml"/><Relationship Id="rId42" Type="http://schemas.openxmlformats.org/officeDocument/2006/relationships/slideLayout" Target="../slideLayouts/slideLayout219.xml"/><Relationship Id="rId47" Type="http://schemas.openxmlformats.org/officeDocument/2006/relationships/slideLayout" Target="../slideLayouts/slideLayout224.xml"/><Relationship Id="rId50" Type="http://schemas.openxmlformats.org/officeDocument/2006/relationships/slideLayout" Target="../slideLayouts/slideLayout227.xml"/><Relationship Id="rId55" Type="http://schemas.openxmlformats.org/officeDocument/2006/relationships/slideLayout" Target="../slideLayouts/slideLayout232.xml"/><Relationship Id="rId63" Type="http://schemas.openxmlformats.org/officeDocument/2006/relationships/slideLayout" Target="../slideLayouts/slideLayout240.xml"/><Relationship Id="rId7" Type="http://schemas.openxmlformats.org/officeDocument/2006/relationships/slideLayout" Target="../slideLayouts/slideLayout184.xml"/><Relationship Id="rId2" Type="http://schemas.openxmlformats.org/officeDocument/2006/relationships/slideLayout" Target="../slideLayouts/slideLayout179.xml"/><Relationship Id="rId16" Type="http://schemas.openxmlformats.org/officeDocument/2006/relationships/slideLayout" Target="../slideLayouts/slideLayout193.xml"/><Relationship Id="rId29" Type="http://schemas.openxmlformats.org/officeDocument/2006/relationships/slideLayout" Target="../slideLayouts/slideLayout206.xml"/><Relationship Id="rId11" Type="http://schemas.openxmlformats.org/officeDocument/2006/relationships/slideLayout" Target="../slideLayouts/slideLayout188.xml"/><Relationship Id="rId24" Type="http://schemas.openxmlformats.org/officeDocument/2006/relationships/slideLayout" Target="../slideLayouts/slideLayout201.xml"/><Relationship Id="rId32" Type="http://schemas.openxmlformats.org/officeDocument/2006/relationships/slideLayout" Target="../slideLayouts/slideLayout209.xml"/><Relationship Id="rId37" Type="http://schemas.openxmlformats.org/officeDocument/2006/relationships/slideLayout" Target="../slideLayouts/slideLayout214.xml"/><Relationship Id="rId40" Type="http://schemas.openxmlformats.org/officeDocument/2006/relationships/slideLayout" Target="../slideLayouts/slideLayout217.xml"/><Relationship Id="rId45" Type="http://schemas.openxmlformats.org/officeDocument/2006/relationships/slideLayout" Target="../slideLayouts/slideLayout222.xml"/><Relationship Id="rId53" Type="http://schemas.openxmlformats.org/officeDocument/2006/relationships/slideLayout" Target="../slideLayouts/slideLayout230.xml"/><Relationship Id="rId58" Type="http://schemas.openxmlformats.org/officeDocument/2006/relationships/slideLayout" Target="../slideLayouts/slideLayout235.xml"/><Relationship Id="rId66" Type="http://schemas.openxmlformats.org/officeDocument/2006/relationships/theme" Target="../theme/theme5.xml"/><Relationship Id="rId5" Type="http://schemas.openxmlformats.org/officeDocument/2006/relationships/slideLayout" Target="../slideLayouts/slideLayout182.xml"/><Relationship Id="rId61" Type="http://schemas.openxmlformats.org/officeDocument/2006/relationships/slideLayout" Target="../slideLayouts/slideLayout238.xml"/><Relationship Id="rId19" Type="http://schemas.openxmlformats.org/officeDocument/2006/relationships/slideLayout" Target="../slideLayouts/slideLayout196.xml"/><Relationship Id="rId14" Type="http://schemas.openxmlformats.org/officeDocument/2006/relationships/slideLayout" Target="../slideLayouts/slideLayout191.xml"/><Relationship Id="rId22" Type="http://schemas.openxmlformats.org/officeDocument/2006/relationships/slideLayout" Target="../slideLayouts/slideLayout199.xml"/><Relationship Id="rId27" Type="http://schemas.openxmlformats.org/officeDocument/2006/relationships/slideLayout" Target="../slideLayouts/slideLayout204.xml"/><Relationship Id="rId30" Type="http://schemas.openxmlformats.org/officeDocument/2006/relationships/slideLayout" Target="../slideLayouts/slideLayout207.xml"/><Relationship Id="rId35" Type="http://schemas.openxmlformats.org/officeDocument/2006/relationships/slideLayout" Target="../slideLayouts/slideLayout212.xml"/><Relationship Id="rId43" Type="http://schemas.openxmlformats.org/officeDocument/2006/relationships/slideLayout" Target="../slideLayouts/slideLayout220.xml"/><Relationship Id="rId48" Type="http://schemas.openxmlformats.org/officeDocument/2006/relationships/slideLayout" Target="../slideLayouts/slideLayout225.xml"/><Relationship Id="rId56" Type="http://schemas.openxmlformats.org/officeDocument/2006/relationships/slideLayout" Target="../slideLayouts/slideLayout233.xml"/><Relationship Id="rId64" Type="http://schemas.openxmlformats.org/officeDocument/2006/relationships/slideLayout" Target="../slideLayouts/slideLayout241.xml"/><Relationship Id="rId8" Type="http://schemas.openxmlformats.org/officeDocument/2006/relationships/slideLayout" Target="../slideLayouts/slideLayout185.xml"/><Relationship Id="rId51" Type="http://schemas.openxmlformats.org/officeDocument/2006/relationships/slideLayout" Target="../slideLayouts/slideLayout228.xml"/><Relationship Id="rId3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9.xml"/><Relationship Id="rId17" Type="http://schemas.openxmlformats.org/officeDocument/2006/relationships/slideLayout" Target="../slideLayouts/slideLayout194.xml"/><Relationship Id="rId25" Type="http://schemas.openxmlformats.org/officeDocument/2006/relationships/slideLayout" Target="../slideLayouts/slideLayout202.xml"/><Relationship Id="rId33" Type="http://schemas.openxmlformats.org/officeDocument/2006/relationships/slideLayout" Target="../slideLayouts/slideLayout210.xml"/><Relationship Id="rId38" Type="http://schemas.openxmlformats.org/officeDocument/2006/relationships/slideLayout" Target="../slideLayouts/slideLayout215.xml"/><Relationship Id="rId46" Type="http://schemas.openxmlformats.org/officeDocument/2006/relationships/slideLayout" Target="../slideLayouts/slideLayout223.xml"/><Relationship Id="rId59" Type="http://schemas.openxmlformats.org/officeDocument/2006/relationships/slideLayout" Target="../slideLayouts/slideLayout236.xml"/><Relationship Id="rId67" Type="http://schemas.openxmlformats.org/officeDocument/2006/relationships/tags" Target="../tags/tag12.xml"/><Relationship Id="rId20" Type="http://schemas.openxmlformats.org/officeDocument/2006/relationships/slideLayout" Target="../slideLayouts/slideLayout197.xml"/><Relationship Id="rId41" Type="http://schemas.openxmlformats.org/officeDocument/2006/relationships/slideLayout" Target="../slideLayouts/slideLayout218.xml"/><Relationship Id="rId54" Type="http://schemas.openxmlformats.org/officeDocument/2006/relationships/slideLayout" Target="../slideLayouts/slideLayout231.xml"/><Relationship Id="rId62" Type="http://schemas.openxmlformats.org/officeDocument/2006/relationships/slideLayout" Target="../slideLayouts/slideLayout239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5" Type="http://schemas.openxmlformats.org/officeDocument/2006/relationships/slideLayout" Target="../slideLayouts/slideLayout192.xml"/><Relationship Id="rId23" Type="http://schemas.openxmlformats.org/officeDocument/2006/relationships/slideLayout" Target="../slideLayouts/slideLayout200.xml"/><Relationship Id="rId28" Type="http://schemas.openxmlformats.org/officeDocument/2006/relationships/slideLayout" Target="../slideLayouts/slideLayout205.xml"/><Relationship Id="rId36" Type="http://schemas.openxmlformats.org/officeDocument/2006/relationships/slideLayout" Target="../slideLayouts/slideLayout213.xml"/><Relationship Id="rId49" Type="http://schemas.openxmlformats.org/officeDocument/2006/relationships/slideLayout" Target="../slideLayouts/slideLayout226.xml"/><Relationship Id="rId57" Type="http://schemas.openxmlformats.org/officeDocument/2006/relationships/slideLayout" Target="../slideLayouts/slideLayout234.xml"/><Relationship Id="rId10" Type="http://schemas.openxmlformats.org/officeDocument/2006/relationships/slideLayout" Target="../slideLayouts/slideLayout187.xml"/><Relationship Id="rId31" Type="http://schemas.openxmlformats.org/officeDocument/2006/relationships/slideLayout" Target="../slideLayouts/slideLayout208.xml"/><Relationship Id="rId44" Type="http://schemas.openxmlformats.org/officeDocument/2006/relationships/slideLayout" Target="../slideLayouts/slideLayout221.xml"/><Relationship Id="rId52" Type="http://schemas.openxmlformats.org/officeDocument/2006/relationships/slideLayout" Target="../slideLayouts/slideLayout229.xml"/><Relationship Id="rId60" Type="http://schemas.openxmlformats.org/officeDocument/2006/relationships/slideLayout" Target="../slideLayouts/slideLayout237.xml"/><Relationship Id="rId65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3" Type="http://schemas.openxmlformats.org/officeDocument/2006/relationships/slideLayout" Target="../slideLayouts/slideLayout190.xml"/><Relationship Id="rId18" Type="http://schemas.openxmlformats.org/officeDocument/2006/relationships/slideLayout" Target="../slideLayouts/slideLayout195.xml"/><Relationship Id="rId39" Type="http://schemas.openxmlformats.org/officeDocument/2006/relationships/slideLayout" Target="../slideLayouts/slideLayout2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7338" y="231774"/>
            <a:ext cx="8569325" cy="10080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7338" y="1384301"/>
            <a:ext cx="8569324" cy="3240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Level 1, </a:t>
            </a:r>
            <a:r>
              <a:rPr lang="en-US" dirty="0" err="1"/>
              <a:t>Tietoevry</a:t>
            </a:r>
            <a:r>
              <a:rPr lang="en-US" dirty="0"/>
              <a:t> sans light 11</a:t>
            </a:r>
          </a:p>
          <a:p>
            <a:pPr lvl="1"/>
            <a:r>
              <a:rPr lang="en-US" dirty="0"/>
              <a:t>Level 2, </a:t>
            </a:r>
            <a:r>
              <a:rPr lang="en-US" dirty="0" err="1"/>
              <a:t>Tietoevry</a:t>
            </a:r>
            <a:r>
              <a:rPr lang="en-US" dirty="0"/>
              <a:t> sans light 11</a:t>
            </a:r>
          </a:p>
          <a:p>
            <a:pPr lvl="2"/>
            <a:r>
              <a:rPr lang="en-US" dirty="0"/>
              <a:t>Level 3, </a:t>
            </a:r>
            <a:r>
              <a:rPr lang="en-US" dirty="0" err="1"/>
              <a:t>Tietoevry</a:t>
            </a:r>
            <a:r>
              <a:rPr lang="en-US" dirty="0"/>
              <a:t> sans light 11</a:t>
            </a:r>
          </a:p>
          <a:p>
            <a:pPr lvl="3"/>
            <a:r>
              <a:rPr lang="en-US" dirty="0"/>
              <a:t>Level 4, </a:t>
            </a:r>
            <a:r>
              <a:rPr lang="en-US" dirty="0" err="1"/>
              <a:t>Tietoevry</a:t>
            </a:r>
            <a:r>
              <a:rPr lang="en-US" dirty="0"/>
              <a:t> sans medium 11</a:t>
            </a:r>
          </a:p>
          <a:p>
            <a:pPr lvl="4"/>
            <a:r>
              <a:rPr lang="en-GB" dirty="0"/>
              <a:t>Level 5, </a:t>
            </a:r>
            <a:r>
              <a:rPr lang="en-GB" dirty="0" err="1"/>
              <a:t>Tietoevry</a:t>
            </a:r>
            <a:r>
              <a:rPr lang="en-GB" dirty="0"/>
              <a:t> sans medium 11 (Maroon colour)</a:t>
            </a:r>
          </a:p>
          <a:p>
            <a:pPr lvl="5"/>
            <a:r>
              <a:rPr lang="en-US" dirty="0"/>
              <a:t>Level 6, </a:t>
            </a:r>
            <a:r>
              <a:rPr lang="en-US" dirty="0" err="1"/>
              <a:t>Tietoevry</a:t>
            </a:r>
            <a:r>
              <a:rPr lang="en-US" dirty="0"/>
              <a:t> sans light 16 (Boardroom)</a:t>
            </a:r>
          </a:p>
          <a:p>
            <a:pPr lvl="6"/>
            <a:r>
              <a:rPr lang="en-US" dirty="0"/>
              <a:t>Level 7, </a:t>
            </a:r>
            <a:r>
              <a:rPr lang="en-US" dirty="0" err="1"/>
              <a:t>Tietoevry</a:t>
            </a:r>
            <a:r>
              <a:rPr lang="en-US" dirty="0"/>
              <a:t> sans light 20 (Classroom)</a:t>
            </a:r>
          </a:p>
          <a:p>
            <a:pPr lvl="7"/>
            <a:r>
              <a:rPr lang="en-US" dirty="0"/>
              <a:t>Level 8, </a:t>
            </a:r>
            <a:r>
              <a:rPr lang="en-US" dirty="0" err="1"/>
              <a:t>Tietoevry</a:t>
            </a:r>
            <a:r>
              <a:rPr lang="en-US" dirty="0"/>
              <a:t> sans light 24 (Ballroom)</a:t>
            </a:r>
          </a:p>
          <a:p>
            <a:pPr lvl="8"/>
            <a:r>
              <a:rPr lang="en-US" dirty="0"/>
              <a:t>Level 9,Tietoevry sans thin 36 (Infographics)</a:t>
            </a:r>
          </a:p>
          <a:p>
            <a:pPr lvl="8"/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29054" y="4889414"/>
            <a:ext cx="2057400" cy="12938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>
                <a:solidFill>
                  <a:srgbClr val="BEBEBE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30621" y="4889414"/>
            <a:ext cx="513396" cy="129382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rgbClr val="BEBEBE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32687" y="4889414"/>
            <a:ext cx="316567" cy="12938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>
                <a:solidFill>
                  <a:srgbClr val="BEBEBE"/>
                </a:solidFill>
              </a:defRPr>
            </a:lvl1pPr>
          </a:lstStyle>
          <a:p>
            <a:fld id="{61E25E67-CBB9-434B-BBF7-0A5E970272B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1" name="Graphic 19">
            <a:extLst>
              <a:ext uri="{FF2B5EF4-FFF2-40B4-BE49-F238E27FC236}">
                <a16:creationId xmlns:a16="http://schemas.microsoft.com/office/drawing/2014/main" id="{25FB6CBA-568C-4561-9F8B-63353D60C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BEBEBE"/>
          </a:soli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D5553F2-FBCD-4BC0-89B1-C3C6B071A465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6E97CA0-2B3D-4EC7-8814-4B1885DAA8A1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436BE29-9A5E-4924-96C1-C8FD6399636D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4302BD2-1721-4C2B-918F-37EDB2DA213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AA81E65-F43B-4507-962E-4E125887B53C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8C82DF7-08D7-4B3C-A2EE-3F151BD3E0D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E78D303-7B1B-4CA5-98B1-5150A7C5556C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45B777B-422A-42E1-9FEF-493C5441CEB7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0D0337E-6257-43B6-8A33-5D5B00F11F62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BCDA05F-0DFB-434E-8D63-F21AC9981CFC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261AAF30-1E5F-4CD3-9063-4CD80BA1F755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1A0A60F8-03A2-4F61-B78E-3B95B56313E6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BAFDD46-3F79-4ABA-99B9-5B4F6A10C616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61AE0C9-4144-43F9-A524-8675A64D4BEF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CCFBA73-1C05-4642-8FD7-EC0C2827D718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B432E7C-57D1-4945-8842-A6509C2261F7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36BA895-901A-4EA1-839D-68CDC919D650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773566D-F5D6-45EA-8088-C1671AE93497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73E19993-6F5D-408F-A761-CFB189BD3ED2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609AB2E-EE1C-4E2C-93C7-D22EF0230ADD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xxLanguageTextBox">
            <a:extLst>
              <a:ext uri="{FF2B5EF4-FFF2-40B4-BE49-F238E27FC236}">
                <a16:creationId xmlns:a16="http://schemas.microsoft.com/office/drawing/2014/main" id="{58F81A98-8A90-4939-8305-1BD77D15340D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xxLanguageTextBox">
            <a:extLst>
              <a:ext uri="{FF2B5EF4-FFF2-40B4-BE49-F238E27FC236}">
                <a16:creationId xmlns:a16="http://schemas.microsoft.com/office/drawing/2014/main" id="{0BA9C109-60A0-4CD7-8604-CA1350B8399E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xxLanguageTextBox">
            <a:extLst>
              <a:ext uri="{FF2B5EF4-FFF2-40B4-BE49-F238E27FC236}">
                <a16:creationId xmlns:a16="http://schemas.microsoft.com/office/drawing/2014/main" id="{E3424136-D07B-4809-A0D0-DF64A4998C65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xxLanguageTextBox">
            <a:extLst>
              <a:ext uri="{FF2B5EF4-FFF2-40B4-BE49-F238E27FC236}">
                <a16:creationId xmlns:a16="http://schemas.microsoft.com/office/drawing/2014/main" id="{44890CA2-8BA5-4DAF-A661-773C108C9506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xxLanguageTextBox">
            <a:extLst>
              <a:ext uri="{FF2B5EF4-FFF2-40B4-BE49-F238E27FC236}">
                <a16:creationId xmlns:a16="http://schemas.microsoft.com/office/drawing/2014/main" id="{E61FCD24-C515-4CE0-8F76-ED33AB0DF48C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1892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7" r:id="rId2"/>
    <p:sldLayoutId id="2147483679" r:id="rId3"/>
    <p:sldLayoutId id="2147483678" r:id="rId4"/>
    <p:sldLayoutId id="2147483700" r:id="rId5"/>
    <p:sldLayoutId id="2147483701" r:id="rId6"/>
    <p:sldLayoutId id="2147483702" r:id="rId7"/>
    <p:sldLayoutId id="2147483682" r:id="rId8"/>
    <p:sldLayoutId id="2147483680" r:id="rId9"/>
    <p:sldLayoutId id="2147483724" r:id="rId10"/>
    <p:sldLayoutId id="2147483725" r:id="rId11"/>
    <p:sldLayoutId id="2147483683" r:id="rId12"/>
    <p:sldLayoutId id="2147483684" r:id="rId13"/>
    <p:sldLayoutId id="2147483686" r:id="rId14"/>
    <p:sldLayoutId id="2147483685" r:id="rId15"/>
    <p:sldLayoutId id="2147483687" r:id="rId16"/>
    <p:sldLayoutId id="2147483688" r:id="rId17"/>
    <p:sldLayoutId id="2147483727" r:id="rId18"/>
    <p:sldLayoutId id="2147483691" r:id="rId19"/>
    <p:sldLayoutId id="2147483730" r:id="rId20"/>
    <p:sldLayoutId id="2147483721" r:id="rId21"/>
    <p:sldLayoutId id="2147483692" r:id="rId22"/>
    <p:sldLayoutId id="2147483731" r:id="rId23"/>
    <p:sldLayoutId id="2147483732" r:id="rId24"/>
    <p:sldLayoutId id="2147483717" r:id="rId25"/>
    <p:sldLayoutId id="2147483733" r:id="rId26"/>
    <p:sldLayoutId id="2147483723" r:id="rId27"/>
    <p:sldLayoutId id="2147483722" r:id="rId28"/>
    <p:sldLayoutId id="2147483734" r:id="rId29"/>
    <p:sldLayoutId id="2147483735" r:id="rId30"/>
    <p:sldLayoutId id="2147483737" r:id="rId31"/>
    <p:sldLayoutId id="2147483738" r:id="rId32"/>
    <p:sldLayoutId id="2147483708" r:id="rId33"/>
    <p:sldLayoutId id="2147483719" r:id="rId34"/>
    <p:sldLayoutId id="2147483673" r:id="rId35"/>
    <p:sldLayoutId id="2147483674" r:id="rId36"/>
    <p:sldLayoutId id="2147483675" r:id="rId37"/>
    <p:sldLayoutId id="2147483676" r:id="rId38"/>
    <p:sldLayoutId id="2147483711" r:id="rId39"/>
    <p:sldLayoutId id="2147483710" r:id="rId40"/>
    <p:sldLayoutId id="2147483712" r:id="rId41"/>
    <p:sldLayoutId id="2147483713" r:id="rId42"/>
    <p:sldLayoutId id="2147483714" r:id="rId43"/>
    <p:sldLayoutId id="2147483739" r:id="rId44"/>
    <p:sldLayoutId id="2147483697" r:id="rId45"/>
    <p:sldLayoutId id="2147483694" r:id="rId46"/>
    <p:sldLayoutId id="2147483740" r:id="rId47"/>
    <p:sldLayoutId id="2147483709" r:id="rId48"/>
    <p:sldLayoutId id="2147483698" r:id="rId49"/>
    <p:sldLayoutId id="2147483699" r:id="rId50"/>
    <p:sldLayoutId id="2147483706" r:id="rId51"/>
    <p:sldLayoutId id="2147483703" r:id="rId52"/>
    <p:sldLayoutId id="2147483704" r:id="rId53"/>
    <p:sldLayoutId id="2147483705" r:id="rId54"/>
    <p:sldLayoutId id="2147483728" r:id="rId55"/>
    <p:sldLayoutId id="2147483729" r:id="rId56"/>
    <p:sldLayoutId id="2147483741" r:id="rId57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345600" indent="-17280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518400" indent="-17280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Roboto" panose="02000000000000000000" pitchFamily="2" charset="0"/>
        <a:buChar char="​"/>
        <a:defRPr sz="1100" kern="1200">
          <a:solidFill>
            <a:schemeClr val="tx1"/>
          </a:solidFill>
          <a:latin typeface="Tietoevry Sans 1 Medium" pitchFamily="2" charset="0"/>
          <a:ea typeface="+mn-ea"/>
          <a:cs typeface="+mn-cs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Roboto" panose="02000000000000000000" pitchFamily="2" charset="0"/>
        <a:buChar char="​"/>
        <a:defRPr sz="1100" kern="1200">
          <a:solidFill>
            <a:srgbClr val="64302F"/>
          </a:solidFill>
          <a:latin typeface="Tietoevry Sans 1 Medium" pitchFamily="2" charset="0"/>
          <a:ea typeface="+mn-ea"/>
          <a:cs typeface="+mn-cs"/>
        </a:defRPr>
      </a:lvl5pPr>
      <a:lvl6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Roboto" panose="02000000000000000000" pitchFamily="2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Roboto" panose="02000000000000000000" pitchFamily="2" charset="0"/>
        <a:buChar char="​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Roboto" panose="02000000000000000000" pitchFamily="2" charset="0"/>
        <a:buChar char="​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Roboto" panose="02000000000000000000" pitchFamily="2" charset="0"/>
        <a:buChar char="​"/>
        <a:defRPr sz="3600" kern="1200">
          <a:solidFill>
            <a:schemeClr val="tx1"/>
          </a:solidFill>
          <a:latin typeface="Tietoevry Sans 1 Thin" pitchFamily="2" charset="0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579" userDrawn="1">
          <p15:clr>
            <a:srgbClr val="F26B43"/>
          </p15:clr>
        </p15:guide>
        <p15:guide id="2" orient="horz" pos="146" userDrawn="1">
          <p15:clr>
            <a:srgbClr val="F26B43"/>
          </p15:clr>
        </p15:guide>
        <p15:guide id="3" pos="181" userDrawn="1">
          <p15:clr>
            <a:srgbClr val="F26B43"/>
          </p15:clr>
        </p15:guide>
        <p15:guide id="4" orient="horz" pos="872" userDrawn="1">
          <p15:clr>
            <a:srgbClr val="F26B43"/>
          </p15:clr>
        </p15:guide>
        <p15:guide id="5" orient="horz" pos="2913" userDrawn="1">
          <p15:clr>
            <a:srgbClr val="F26B43"/>
          </p15:clr>
        </p15:guide>
        <p15:guide id="7" orient="horz" pos="78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7910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</p:sldLayoutIdLst>
  <p:hf sldNum="0" hdr="0" ftr="0" dt="0"/>
  <p:txStyles>
    <p:titleStyle>
      <a:lvl1pPr algn="ctr" defTabSz="571500" rtl="0" eaLnBrk="1" latinLnBrk="0" hangingPunct="1">
        <a:spcBef>
          <a:spcPct val="0"/>
        </a:spcBef>
        <a:buNone/>
        <a:defRPr sz="27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4313" indent="-214313" algn="l" defTabSz="5715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64344" indent="-178594" algn="l" defTabSz="571500" rtl="0" eaLnBrk="1" latinLnBrk="0" hangingPunct="1">
        <a:spcBef>
          <a:spcPct val="20000"/>
        </a:spcBef>
        <a:buFont typeface="Arial" pitchFamily="34" charset="0"/>
        <a:buChar char="–"/>
        <a:defRPr sz="175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42875" algn="l" defTabSz="5715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00125" indent="-142875" algn="l" defTabSz="571500" rtl="0" eaLnBrk="1" latinLnBrk="0" hangingPunct="1">
        <a:spcBef>
          <a:spcPct val="20000"/>
        </a:spcBef>
        <a:buFont typeface="Arial" pitchFamily="34" charset="0"/>
        <a:buChar char="–"/>
        <a:defRPr sz="1250" kern="1200">
          <a:solidFill>
            <a:schemeClr val="tx1"/>
          </a:solidFill>
          <a:latin typeface="+mn-lt"/>
          <a:ea typeface="+mn-ea"/>
          <a:cs typeface="+mn-cs"/>
        </a:defRPr>
      </a:lvl4pPr>
      <a:lvl5pPr marL="1285875" indent="-142875" algn="l" defTabSz="571500" rtl="0" eaLnBrk="1" latinLnBrk="0" hangingPunct="1">
        <a:spcBef>
          <a:spcPct val="20000"/>
        </a:spcBef>
        <a:buFont typeface="Arial" pitchFamily="34" charset="0"/>
        <a:buChar char="»"/>
        <a:defRPr sz="1250" kern="1200">
          <a:solidFill>
            <a:schemeClr val="tx1"/>
          </a:solidFill>
          <a:latin typeface="+mn-lt"/>
          <a:ea typeface="+mn-ea"/>
          <a:cs typeface="+mn-cs"/>
        </a:defRPr>
      </a:lvl5pPr>
      <a:lvl6pPr marL="1571625" indent="-142875" algn="l" defTabSz="571500" rtl="0" eaLnBrk="1" latinLnBrk="0" hangingPunct="1">
        <a:spcBef>
          <a:spcPct val="20000"/>
        </a:spcBef>
        <a:buFont typeface="Arial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6pPr>
      <a:lvl7pPr marL="1857375" indent="-142875" algn="l" defTabSz="571500" rtl="0" eaLnBrk="1" latinLnBrk="0" hangingPunct="1">
        <a:spcBef>
          <a:spcPct val="20000"/>
        </a:spcBef>
        <a:buFont typeface="Arial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7pPr>
      <a:lvl8pPr marL="2143125" indent="-142875" algn="l" defTabSz="571500" rtl="0" eaLnBrk="1" latinLnBrk="0" hangingPunct="1">
        <a:spcBef>
          <a:spcPct val="20000"/>
        </a:spcBef>
        <a:buFont typeface="Arial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8pPr>
      <a:lvl9pPr marL="2428875" indent="-142875" algn="l" defTabSz="571500" rtl="0" eaLnBrk="1" latinLnBrk="0" hangingPunct="1">
        <a:spcBef>
          <a:spcPct val="20000"/>
        </a:spcBef>
        <a:buFont typeface="Arial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7150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algn="l" defTabSz="57150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algn="l" defTabSz="57150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857250" algn="l" defTabSz="57150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algn="l" defTabSz="57150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5pPr>
      <a:lvl6pPr marL="1428750" algn="l" defTabSz="57150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714500" algn="l" defTabSz="57150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2000250" algn="l" defTabSz="57150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algn="l" defTabSz="571500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7339" y="231774"/>
            <a:ext cx="8569325" cy="10080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7339" y="1384302"/>
            <a:ext cx="8569324" cy="3240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29054" y="4889415"/>
            <a:ext cx="2057400" cy="12938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>
                <a:solidFill>
                  <a:srgbClr val="BEBEBE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30621" y="4889415"/>
            <a:ext cx="513396" cy="129382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rgbClr val="BEBEBE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32688" y="4889415"/>
            <a:ext cx="316567" cy="12938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>
                <a:solidFill>
                  <a:srgbClr val="BEBEBE"/>
                </a:solidFill>
                <a:latin typeface="Arial" panose="020B0604020202020204" pitchFamily="34" charset="0"/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1" name="Graphic 19">
            <a:extLst>
              <a:ext uri="{FF2B5EF4-FFF2-40B4-BE49-F238E27FC236}">
                <a16:creationId xmlns:a16="http://schemas.microsoft.com/office/drawing/2014/main" id="{25FB6CBA-568C-4561-9F8B-63353D60C4F8}"/>
              </a:ext>
            </a:extLst>
          </p:cNvPr>
          <p:cNvGrpSpPr/>
          <p:nvPr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BEBEBE"/>
          </a:soli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D5553F2-FBCD-4BC0-89B1-C3C6B071A465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6E97CA0-2B3D-4EC7-8814-4B1885DAA8A1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436BE29-9A5E-4924-96C1-C8FD6399636D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4302BD2-1721-4C2B-918F-37EDB2DA213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AA81E65-F43B-4507-962E-4E125887B53C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8C82DF7-08D7-4B3C-A2EE-3F151BD3E0D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E78D303-7B1B-4CA5-98B1-5150A7C5556C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45B777B-422A-42E1-9FEF-493C5441CEB7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0D0337E-6257-43B6-8A33-5D5B00F11F62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BCDA05F-0DFB-434E-8D63-F21AC9981CFC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261AAF30-1E5F-4CD3-9063-4CD80BA1F755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1A0A60F8-03A2-4F61-B78E-3B95B56313E6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BAFDD46-3F79-4ABA-99B9-5B4F6A10C616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61AE0C9-4144-43F9-A524-8675A64D4BEF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CCFBA73-1C05-4642-8FD7-EC0C2827D718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B432E7C-57D1-4945-8842-A6509C2261F7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36BA895-901A-4EA1-839D-68CDC919D650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773566D-F5D6-45EA-8088-C1671AE93497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73E19993-6F5D-408F-A761-CFB189BD3ED2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609AB2E-EE1C-4E2C-93C7-D22EF0230ADD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>
                <a:latin typeface="Arial" panose="020B0604020202020204" pitchFamily="34" charset="0"/>
              </a:endParaRPr>
            </a:p>
          </p:txBody>
        </p:sp>
      </p:grpSp>
      <p:sp>
        <p:nvSpPr>
          <p:cNvPr id="11" name="xxLanguageTextBox">
            <a:extLst>
              <a:ext uri="{FF2B5EF4-FFF2-40B4-BE49-F238E27FC236}">
                <a16:creationId xmlns:a16="http://schemas.microsoft.com/office/drawing/2014/main" id="{58F81A98-8A90-4939-8305-1BD77D15340D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9117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  <p:sldLayoutId id="2147483821" r:id="rId16"/>
    <p:sldLayoutId id="2147483822" r:id="rId17"/>
    <p:sldLayoutId id="2147483823" r:id="rId18"/>
    <p:sldLayoutId id="2147483824" r:id="rId19"/>
    <p:sldLayoutId id="2147483825" r:id="rId20"/>
    <p:sldLayoutId id="2147483826" r:id="rId21"/>
    <p:sldLayoutId id="2147483827" r:id="rId22"/>
    <p:sldLayoutId id="2147483828" r:id="rId23"/>
    <p:sldLayoutId id="2147483829" r:id="rId24"/>
    <p:sldLayoutId id="2147483830" r:id="rId25"/>
    <p:sldLayoutId id="2147483831" r:id="rId26"/>
    <p:sldLayoutId id="2147483832" r:id="rId27"/>
    <p:sldLayoutId id="2147483833" r:id="rId28"/>
    <p:sldLayoutId id="2147483834" r:id="rId29"/>
    <p:sldLayoutId id="2147483835" r:id="rId30"/>
    <p:sldLayoutId id="2147483836" r:id="rId31"/>
    <p:sldLayoutId id="2147483837" r:id="rId32"/>
    <p:sldLayoutId id="2147483838" r:id="rId33"/>
    <p:sldLayoutId id="2147483839" r:id="rId34"/>
    <p:sldLayoutId id="2147483840" r:id="rId35"/>
    <p:sldLayoutId id="2147483841" r:id="rId36"/>
    <p:sldLayoutId id="2147483842" r:id="rId37"/>
    <p:sldLayoutId id="2147483843" r:id="rId38"/>
    <p:sldLayoutId id="2147483844" r:id="rId39"/>
    <p:sldLayoutId id="2147483845" r:id="rId40"/>
    <p:sldLayoutId id="2147483846" r:id="rId41"/>
    <p:sldLayoutId id="2147483847" r:id="rId42"/>
    <p:sldLayoutId id="2147483848" r:id="rId43"/>
    <p:sldLayoutId id="2147483849" r:id="rId44"/>
    <p:sldLayoutId id="2147483850" r:id="rId45"/>
    <p:sldLayoutId id="2147483851" r:id="rId46"/>
    <p:sldLayoutId id="2147483852" r:id="rId47"/>
    <p:sldLayoutId id="2147483853" r:id="rId48"/>
    <p:sldLayoutId id="2147483854" r:id="rId49"/>
    <p:sldLayoutId id="2147483855" r:id="rId50"/>
    <p:sldLayoutId id="2147483856" r:id="rId51"/>
    <p:sldLayoutId id="2147483857" r:id="rId52"/>
    <p:sldLayoutId id="2147483858" r:id="rId53"/>
    <p:sldLayoutId id="2147483859" r:id="rId54"/>
    <p:sldLayoutId id="2147483860" r:id="rId55"/>
    <p:sldLayoutId id="2147483861" r:id="rId56"/>
    <p:sldLayoutId id="2147483862" r:id="rId57"/>
    <p:sldLayoutId id="2147483863" r:id="rId58"/>
    <p:sldLayoutId id="2147483864" r:id="rId59"/>
    <p:sldLayoutId id="2147483865" r:id="rId60"/>
  </p:sldLayoutIdLst>
  <p:hf hd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360354" indent="-180971" algn="l" defTabSz="685783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539737" indent="-179384" algn="l" defTabSz="685783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719120" indent="-179384" algn="l" defTabSz="685783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898502" indent="-179384" algn="l" defTabSz="685783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579">
          <p15:clr>
            <a:srgbClr val="F26B43"/>
          </p15:clr>
        </p15:guide>
        <p15:guide id="2" orient="horz" pos="146">
          <p15:clr>
            <a:srgbClr val="F26B43"/>
          </p15:clr>
        </p15:guide>
        <p15:guide id="3" pos="181">
          <p15:clr>
            <a:srgbClr val="F26B43"/>
          </p15:clr>
        </p15:guide>
        <p15:guide id="4" orient="horz" pos="872">
          <p15:clr>
            <a:srgbClr val="F26B43"/>
          </p15:clr>
        </p15:guide>
        <p15:guide id="5" orient="horz" pos="2913">
          <p15:clr>
            <a:srgbClr val="F26B43"/>
          </p15:clr>
        </p15:guide>
        <p15:guide id="7" orient="horz" pos="7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7339" y="231774"/>
            <a:ext cx="8569325" cy="10080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7339" y="1384302"/>
            <a:ext cx="8569324" cy="3240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29054" y="4889415"/>
            <a:ext cx="2057400" cy="12938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>
                <a:solidFill>
                  <a:srgbClr val="BEBEBE"/>
                </a:solidFill>
              </a:defRPr>
            </a:lvl1pPr>
          </a:lstStyle>
          <a:p>
            <a:r>
              <a:rPr lang="en-US"/>
              <a:t>December 14, 2021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30621" y="4889415"/>
            <a:ext cx="513396" cy="129382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rgbClr val="BEBEBE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32688" y="4889415"/>
            <a:ext cx="316567" cy="12938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>
                <a:solidFill>
                  <a:srgbClr val="BEBEBE"/>
                </a:solidFill>
              </a:defRPr>
            </a:lvl1pPr>
          </a:lstStyle>
          <a:p>
            <a:fld id="{61E25E67-CBB9-434B-BBF7-0A5E970272B8}" type="slidenum">
              <a:rPr lang="en-GB"/>
              <a:pPr/>
              <a:t>‹#›</a:t>
            </a:fld>
            <a:endParaRPr lang="en-GB"/>
          </a:p>
        </p:txBody>
      </p:sp>
      <p:grpSp>
        <p:nvGrpSpPr>
          <p:cNvPr id="21" name="Graphic 19">
            <a:extLst>
              <a:ext uri="{FF2B5EF4-FFF2-40B4-BE49-F238E27FC236}">
                <a16:creationId xmlns:a16="http://schemas.microsoft.com/office/drawing/2014/main" id="{25FB6CBA-568C-4561-9F8B-63353D60C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BEBEBE"/>
          </a:soli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D5553F2-FBCD-4BC0-89B1-C3C6B071A465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6E97CA0-2B3D-4EC7-8814-4B1885DAA8A1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436BE29-9A5E-4924-96C1-C8FD6399636D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4302BD2-1721-4C2B-918F-37EDB2DA213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AA81E65-F43B-4507-962E-4E125887B53C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8C82DF7-08D7-4B3C-A2EE-3F151BD3E0D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E78D303-7B1B-4CA5-98B1-5150A7C5556C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45B777B-422A-42E1-9FEF-493C5441CEB7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0D0337E-6257-43B6-8A33-5D5B00F11F62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BCDA05F-0DFB-434E-8D63-F21AC9981CFC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261AAF30-1E5F-4CD3-9063-4CD80BA1F755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1A0A60F8-03A2-4F61-B78E-3B95B56313E6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BAFDD46-3F79-4ABA-99B9-5B4F6A10C616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61AE0C9-4144-43F9-A524-8675A64D4BEF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CCFBA73-1C05-4642-8FD7-EC0C2827D718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B432E7C-57D1-4945-8842-A6509C2261F7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36BA895-901A-4EA1-839D-68CDC919D650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773566D-F5D6-45EA-8088-C1671AE93497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73E19993-6F5D-408F-A761-CFB189BD3ED2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609AB2E-EE1C-4E2C-93C7-D22EF0230ADD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11" name="xxLanguageTextBox">
            <a:extLst>
              <a:ext uri="{FF2B5EF4-FFF2-40B4-BE49-F238E27FC236}">
                <a16:creationId xmlns:a16="http://schemas.microsoft.com/office/drawing/2014/main" id="{58F81A98-8A90-4939-8305-1BD77D15340D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" name="xxLanguageTextBox">
            <a:extLst>
              <a:ext uri="{FF2B5EF4-FFF2-40B4-BE49-F238E27FC236}">
                <a16:creationId xmlns:a16="http://schemas.microsoft.com/office/drawing/2014/main" id="{0BA9C109-60A0-4CD7-8604-CA1350B8399E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xxLanguageTextBox">
            <a:extLst>
              <a:ext uri="{FF2B5EF4-FFF2-40B4-BE49-F238E27FC236}">
                <a16:creationId xmlns:a16="http://schemas.microsoft.com/office/drawing/2014/main" id="{E3424136-D07B-4809-A0D0-DF64A4998C65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9" name="xxLanguageTextBox">
            <a:extLst>
              <a:ext uri="{FF2B5EF4-FFF2-40B4-BE49-F238E27FC236}">
                <a16:creationId xmlns:a16="http://schemas.microsoft.com/office/drawing/2014/main" id="{44890CA2-8BA5-4DAF-A661-773C108C9506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xxLanguageTextBox">
            <a:extLst>
              <a:ext uri="{FF2B5EF4-FFF2-40B4-BE49-F238E27FC236}">
                <a16:creationId xmlns:a16="http://schemas.microsoft.com/office/drawing/2014/main" id="{E61FCD24-C515-4CE0-8F76-ED33AB0DF48C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653206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7" r:id="rId11"/>
    <p:sldLayoutId id="2147483878" r:id="rId12"/>
    <p:sldLayoutId id="2147483879" r:id="rId13"/>
    <p:sldLayoutId id="2147483880" r:id="rId14"/>
    <p:sldLayoutId id="2147483881" r:id="rId15"/>
    <p:sldLayoutId id="2147483882" r:id="rId16"/>
    <p:sldLayoutId id="2147483883" r:id="rId17"/>
    <p:sldLayoutId id="2147483884" r:id="rId18"/>
    <p:sldLayoutId id="2147483885" r:id="rId19"/>
    <p:sldLayoutId id="2147483886" r:id="rId20"/>
    <p:sldLayoutId id="2147483887" r:id="rId21"/>
    <p:sldLayoutId id="2147483888" r:id="rId22"/>
    <p:sldLayoutId id="2147483889" r:id="rId23"/>
    <p:sldLayoutId id="2147483890" r:id="rId24"/>
    <p:sldLayoutId id="2147483891" r:id="rId25"/>
    <p:sldLayoutId id="2147483892" r:id="rId26"/>
    <p:sldLayoutId id="2147483893" r:id="rId27"/>
    <p:sldLayoutId id="2147483894" r:id="rId28"/>
    <p:sldLayoutId id="2147483895" r:id="rId29"/>
    <p:sldLayoutId id="2147483896" r:id="rId30"/>
    <p:sldLayoutId id="2147483897" r:id="rId31"/>
    <p:sldLayoutId id="2147483898" r:id="rId32"/>
    <p:sldLayoutId id="2147483899" r:id="rId33"/>
    <p:sldLayoutId id="2147483900" r:id="rId34"/>
    <p:sldLayoutId id="2147483901" r:id="rId35"/>
    <p:sldLayoutId id="2147483902" r:id="rId36"/>
    <p:sldLayoutId id="2147483903" r:id="rId37"/>
    <p:sldLayoutId id="2147483904" r:id="rId38"/>
    <p:sldLayoutId id="2147483905" r:id="rId39"/>
    <p:sldLayoutId id="2147483906" r:id="rId40"/>
    <p:sldLayoutId id="2147483907" r:id="rId41"/>
    <p:sldLayoutId id="2147483908" r:id="rId42"/>
    <p:sldLayoutId id="2147483909" r:id="rId43"/>
    <p:sldLayoutId id="2147483910" r:id="rId44"/>
    <p:sldLayoutId id="2147483911" r:id="rId45"/>
    <p:sldLayoutId id="2147483912" r:id="rId46"/>
    <p:sldLayoutId id="2147483913" r:id="rId47"/>
    <p:sldLayoutId id="2147483914" r:id="rId48"/>
    <p:sldLayoutId id="2147483915" r:id="rId49"/>
    <p:sldLayoutId id="2147483916" r:id="rId50"/>
    <p:sldLayoutId id="2147483917" r:id="rId51"/>
    <p:sldLayoutId id="2147483918" r:id="rId52"/>
    <p:sldLayoutId id="2147483919" r:id="rId53"/>
    <p:sldLayoutId id="2147483920" r:id="rId54"/>
    <p:sldLayoutId id="2147483921" r:id="rId55"/>
    <p:sldLayoutId id="2147483922" r:id="rId56"/>
    <p:sldLayoutId id="2147483923" r:id="rId57"/>
    <p:sldLayoutId id="2147483924" r:id="rId58"/>
    <p:sldLayoutId id="2147483925" r:id="rId59"/>
  </p:sldLayoutIdLst>
  <p:hf hd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54" indent="-180971" algn="l" defTabSz="685783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37" indent="-179384" algn="l" defTabSz="685783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20" indent="-179384" algn="l" defTabSz="685783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898502" indent="-179384" algn="l" defTabSz="685783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579">
          <p15:clr>
            <a:srgbClr val="F26B43"/>
          </p15:clr>
        </p15:guide>
        <p15:guide id="2" orient="horz" pos="146">
          <p15:clr>
            <a:srgbClr val="F26B43"/>
          </p15:clr>
        </p15:guide>
        <p15:guide id="3" pos="181">
          <p15:clr>
            <a:srgbClr val="F26B43"/>
          </p15:clr>
        </p15:guide>
        <p15:guide id="4" orient="horz" pos="872">
          <p15:clr>
            <a:srgbClr val="F26B43"/>
          </p15:clr>
        </p15:guide>
        <p15:guide id="5" orient="horz" pos="2913">
          <p15:clr>
            <a:srgbClr val="F26B43"/>
          </p15:clr>
        </p15:guide>
        <p15:guide id="7" orient="horz" pos="78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7338" y="231774"/>
            <a:ext cx="8569325" cy="10080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7338" y="1384301"/>
            <a:ext cx="8569324" cy="32400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29054" y="4889414"/>
            <a:ext cx="2057400" cy="12938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>
                <a:solidFill>
                  <a:srgbClr val="BEBEBE"/>
                </a:solidFill>
              </a:defRPr>
            </a:lvl1pPr>
          </a:lstStyle>
          <a:p>
            <a:r>
              <a:rPr lang="en-US"/>
              <a:t>December 1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30621" y="4889414"/>
            <a:ext cx="513396" cy="129382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>
                <a:solidFill>
                  <a:srgbClr val="BEBEBE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32687" y="4889414"/>
            <a:ext cx="316567" cy="12938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>
                <a:solidFill>
                  <a:srgbClr val="BEBEBE"/>
                </a:solidFill>
              </a:defRPr>
            </a:lvl1pPr>
          </a:lstStyle>
          <a:p>
            <a:fld id="{61E25E67-CBB9-434B-BBF7-0A5E970272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1" name="Graphic 19">
            <a:extLst>
              <a:ext uri="{FF2B5EF4-FFF2-40B4-BE49-F238E27FC236}">
                <a16:creationId xmlns:a16="http://schemas.microsoft.com/office/drawing/2014/main" id="{25FB6CBA-568C-4561-9F8B-63353D60C4F8}"/>
              </a:ext>
            </a:extLst>
          </p:cNvPr>
          <p:cNvGrpSpPr/>
          <p:nvPr/>
        </p:nvGrpSpPr>
        <p:grpSpPr>
          <a:xfrm>
            <a:off x="294595" y="4913727"/>
            <a:ext cx="487916" cy="81562"/>
            <a:chOff x="301852" y="4913727"/>
            <a:chExt cx="487916" cy="81562"/>
          </a:xfrm>
          <a:solidFill>
            <a:srgbClr val="BEBEBE"/>
          </a:soli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D5553F2-FBCD-4BC0-89B1-C3C6B071A465}"/>
                </a:ext>
              </a:extLst>
            </p:cNvPr>
            <p:cNvSpPr/>
            <p:nvPr/>
          </p:nvSpPr>
          <p:spPr>
            <a:xfrm>
              <a:off x="301852" y="4913727"/>
              <a:ext cx="47015" cy="47015"/>
            </a:xfrm>
            <a:custGeom>
              <a:avLst/>
              <a:gdLst>
                <a:gd name="connsiteX0" fmla="*/ 47016 w 47015"/>
                <a:gd name="connsiteY0" fmla="*/ 23532 h 47015"/>
                <a:gd name="connsiteX1" fmla="*/ 47016 w 47015"/>
                <a:gd name="connsiteY1" fmla="*/ 11742 h 47015"/>
                <a:gd name="connsiteX2" fmla="*/ 47016 w 47015"/>
                <a:gd name="connsiteY2" fmla="*/ 0 h 47015"/>
                <a:gd name="connsiteX3" fmla="*/ 35274 w 47015"/>
                <a:gd name="connsiteY3" fmla="*/ 0 h 47015"/>
                <a:gd name="connsiteX4" fmla="*/ 23532 w 47015"/>
                <a:gd name="connsiteY4" fmla="*/ 0 h 47015"/>
                <a:gd name="connsiteX5" fmla="*/ 23532 w 47015"/>
                <a:gd name="connsiteY5" fmla="*/ 11742 h 47015"/>
                <a:gd name="connsiteX6" fmla="*/ 11742 w 47015"/>
                <a:gd name="connsiteY6" fmla="*/ 11742 h 47015"/>
                <a:gd name="connsiteX7" fmla="*/ 11742 w 47015"/>
                <a:gd name="connsiteY7" fmla="*/ 23532 h 47015"/>
                <a:gd name="connsiteX8" fmla="*/ 0 w 47015"/>
                <a:gd name="connsiteY8" fmla="*/ 23532 h 47015"/>
                <a:gd name="connsiteX9" fmla="*/ 0 w 47015"/>
                <a:gd name="connsiteY9" fmla="*/ 35274 h 47015"/>
                <a:gd name="connsiteX10" fmla="*/ 0 w 47015"/>
                <a:gd name="connsiteY10" fmla="*/ 47016 h 47015"/>
                <a:gd name="connsiteX11" fmla="*/ 11742 w 47015"/>
                <a:gd name="connsiteY11" fmla="*/ 47016 h 47015"/>
                <a:gd name="connsiteX12" fmla="*/ 23532 w 47015"/>
                <a:gd name="connsiteY12" fmla="*/ 47016 h 47015"/>
                <a:gd name="connsiteX13" fmla="*/ 23532 w 47015"/>
                <a:gd name="connsiteY13" fmla="*/ 35274 h 47015"/>
                <a:gd name="connsiteX14" fmla="*/ 23532 w 47015"/>
                <a:gd name="connsiteY14" fmla="*/ 23532 h 47015"/>
                <a:gd name="connsiteX15" fmla="*/ 35274 w 47015"/>
                <a:gd name="connsiteY15" fmla="*/ 23532 h 47015"/>
                <a:gd name="connsiteX16" fmla="*/ 47016 w 47015"/>
                <a:gd name="connsiteY16" fmla="*/ 23532 h 4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015" h="47015">
                  <a:moveTo>
                    <a:pt x="47016" y="23532"/>
                  </a:moveTo>
                  <a:lnTo>
                    <a:pt x="47016" y="11742"/>
                  </a:lnTo>
                  <a:lnTo>
                    <a:pt x="47016" y="0"/>
                  </a:lnTo>
                  <a:lnTo>
                    <a:pt x="35274" y="0"/>
                  </a:lnTo>
                  <a:lnTo>
                    <a:pt x="23532" y="0"/>
                  </a:lnTo>
                  <a:lnTo>
                    <a:pt x="23532" y="11742"/>
                  </a:lnTo>
                  <a:lnTo>
                    <a:pt x="11742" y="11742"/>
                  </a:lnTo>
                  <a:lnTo>
                    <a:pt x="11742" y="23532"/>
                  </a:lnTo>
                  <a:lnTo>
                    <a:pt x="0" y="23532"/>
                  </a:lnTo>
                  <a:lnTo>
                    <a:pt x="0" y="35274"/>
                  </a:lnTo>
                  <a:lnTo>
                    <a:pt x="0" y="47016"/>
                  </a:lnTo>
                  <a:lnTo>
                    <a:pt x="11742" y="47016"/>
                  </a:lnTo>
                  <a:lnTo>
                    <a:pt x="23532" y="47016"/>
                  </a:lnTo>
                  <a:lnTo>
                    <a:pt x="23532" y="35274"/>
                  </a:lnTo>
                  <a:lnTo>
                    <a:pt x="23532" y="23532"/>
                  </a:lnTo>
                  <a:lnTo>
                    <a:pt x="35274" y="23532"/>
                  </a:lnTo>
                  <a:lnTo>
                    <a:pt x="47016" y="23532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6E97CA0-2B3D-4EC7-8814-4B1885DAA8A1}"/>
                </a:ext>
              </a:extLst>
            </p:cNvPr>
            <p:cNvSpPr/>
            <p:nvPr/>
          </p:nvSpPr>
          <p:spPr>
            <a:xfrm>
              <a:off x="337271" y="4972533"/>
              <a:ext cx="11741" cy="11740"/>
            </a:xfrm>
            <a:custGeom>
              <a:avLst/>
              <a:gdLst>
                <a:gd name="connsiteX0" fmla="*/ 5500 w 11741"/>
                <a:gd name="connsiteY0" fmla="*/ -430 h 11740"/>
                <a:gd name="connsiteX1" fmla="*/ -223 w 11741"/>
                <a:gd name="connsiteY1" fmla="*/ 5585 h 11740"/>
                <a:gd name="connsiteX2" fmla="*/ 5791 w 11741"/>
                <a:gd name="connsiteY2" fmla="*/ 11308 h 11740"/>
                <a:gd name="connsiteX3" fmla="*/ 11517 w 11741"/>
                <a:gd name="connsiteY3" fmla="*/ 5441 h 11740"/>
                <a:gd name="connsiteX4" fmla="*/ 5646 w 11741"/>
                <a:gd name="connsiteY4" fmla="*/ -430 h 1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0">
                  <a:moveTo>
                    <a:pt x="5500" y="-430"/>
                  </a:moveTo>
                  <a:cubicBezTo>
                    <a:pt x="2259" y="-350"/>
                    <a:pt x="-304" y="2343"/>
                    <a:pt x="-223" y="5585"/>
                  </a:cubicBezTo>
                  <a:cubicBezTo>
                    <a:pt x="-143" y="8826"/>
                    <a:pt x="2550" y="11389"/>
                    <a:pt x="5791" y="11308"/>
                  </a:cubicBezTo>
                  <a:cubicBezTo>
                    <a:pt x="8975" y="11229"/>
                    <a:pt x="11516" y="8626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436BE29-9A5E-4924-96C1-C8FD6399636D}"/>
                </a:ext>
              </a:extLst>
            </p:cNvPr>
            <p:cNvSpPr/>
            <p:nvPr/>
          </p:nvSpPr>
          <p:spPr>
            <a:xfrm>
              <a:off x="348867" y="4972533"/>
              <a:ext cx="11741" cy="11741"/>
            </a:xfrm>
            <a:custGeom>
              <a:avLst/>
              <a:gdLst>
                <a:gd name="connsiteX0" fmla="*/ 5646 w 11741"/>
                <a:gd name="connsiteY0" fmla="*/ -430 h 11741"/>
                <a:gd name="connsiteX1" fmla="*/ -225 w 11741"/>
                <a:gd name="connsiteY1" fmla="*/ 5441 h 11741"/>
                <a:gd name="connsiteX2" fmla="*/ 5646 w 11741"/>
                <a:gd name="connsiteY2" fmla="*/ 11312 h 11741"/>
                <a:gd name="connsiteX3" fmla="*/ 11517 w 11741"/>
                <a:gd name="connsiteY3" fmla="*/ 5441 h 11741"/>
                <a:gd name="connsiteX4" fmla="*/ 5646 w 11741"/>
                <a:gd name="connsiteY4" fmla="*/ -430 h 11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41" h="11741">
                  <a:moveTo>
                    <a:pt x="5646" y="-430"/>
                  </a:moveTo>
                  <a:cubicBezTo>
                    <a:pt x="2403" y="-430"/>
                    <a:pt x="-225" y="2199"/>
                    <a:pt x="-225" y="5441"/>
                  </a:cubicBezTo>
                  <a:cubicBezTo>
                    <a:pt x="-225" y="8683"/>
                    <a:pt x="2403" y="11312"/>
                    <a:pt x="5646" y="11312"/>
                  </a:cubicBezTo>
                  <a:cubicBezTo>
                    <a:pt x="8888" y="11312"/>
                    <a:pt x="11517" y="8683"/>
                    <a:pt x="11517" y="5441"/>
                  </a:cubicBezTo>
                  <a:cubicBezTo>
                    <a:pt x="11517" y="2198"/>
                    <a:pt x="8888" y="-430"/>
                    <a:pt x="5646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4302BD2-1721-4C2B-918F-37EDB2DA2136}"/>
                </a:ext>
              </a:extLst>
            </p:cNvPr>
            <p:cNvSpPr/>
            <p:nvPr/>
          </p:nvSpPr>
          <p:spPr>
            <a:xfrm>
              <a:off x="361337" y="4973260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AA81E65-F43B-4507-962E-4E125887B53C}"/>
                </a:ext>
              </a:extLst>
            </p:cNvPr>
            <p:cNvSpPr/>
            <p:nvPr/>
          </p:nvSpPr>
          <p:spPr>
            <a:xfrm>
              <a:off x="337853" y="4985002"/>
              <a:ext cx="10286" cy="10286"/>
            </a:xfrm>
            <a:custGeom>
              <a:avLst/>
              <a:gdLst>
                <a:gd name="connsiteX0" fmla="*/ 4918 w 10286"/>
                <a:gd name="connsiteY0" fmla="*/ -430 h 10286"/>
                <a:gd name="connsiteX1" fmla="*/ -225 w 10286"/>
                <a:gd name="connsiteY1" fmla="*/ 4713 h 10286"/>
                <a:gd name="connsiteX2" fmla="*/ 4918 w 10286"/>
                <a:gd name="connsiteY2" fmla="*/ 9856 h 10286"/>
                <a:gd name="connsiteX3" fmla="*/ 10061 w 10286"/>
                <a:gd name="connsiteY3" fmla="*/ 4713 h 10286"/>
                <a:gd name="connsiteX4" fmla="*/ 4918 w 10286"/>
                <a:gd name="connsiteY4" fmla="*/ -430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-430"/>
                  </a:move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8C82DF7-08D7-4B3C-A2EE-3F151BD3E0D2}"/>
                </a:ext>
              </a:extLst>
            </p:cNvPr>
            <p:cNvSpPr/>
            <p:nvPr/>
          </p:nvSpPr>
          <p:spPr>
            <a:xfrm>
              <a:off x="350323" y="4985778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6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8605 w 8830"/>
                <a:gd name="connsiteY4" fmla="*/ 3937 h 8830"/>
                <a:gd name="connsiteX5" fmla="*/ 4238 w 8830"/>
                <a:gd name="connsiteY5" fmla="*/ -430 h 8830"/>
                <a:gd name="connsiteX6" fmla="*/ 4190 w 8830"/>
                <a:gd name="connsiteY6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1" y="-430"/>
                    <a:pt x="-225" y="1547"/>
                    <a:pt x="-225" y="3986"/>
                  </a:cubicBezTo>
                  <a:cubicBezTo>
                    <a:pt x="-225" y="6425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3969"/>
                    <a:pt x="8605" y="3953"/>
                    <a:pt x="8605" y="3937"/>
                  </a:cubicBezTo>
                  <a:cubicBezTo>
                    <a:pt x="8605" y="1525"/>
                    <a:pt x="6650" y="-430"/>
                    <a:pt x="4238" y="-430"/>
                  </a:cubicBezTo>
                  <a:cubicBezTo>
                    <a:pt x="4222" y="-430"/>
                    <a:pt x="4206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E78D303-7B1B-4CA5-98B1-5150A7C5556C}"/>
                </a:ext>
              </a:extLst>
            </p:cNvPr>
            <p:cNvSpPr/>
            <p:nvPr/>
          </p:nvSpPr>
          <p:spPr>
            <a:xfrm>
              <a:off x="360561" y="4948952"/>
              <a:ext cx="11838" cy="11838"/>
            </a:xfrm>
            <a:custGeom>
              <a:avLst/>
              <a:gdLst>
                <a:gd name="connsiteX0" fmla="*/ 11614 w 11838"/>
                <a:gd name="connsiteY0" fmla="*/ 5489 h 11838"/>
                <a:gd name="connsiteX1" fmla="*/ 5694 w 11838"/>
                <a:gd name="connsiteY1" fmla="*/ -430 h 11838"/>
                <a:gd name="connsiteX2" fmla="*/ -225 w 11838"/>
                <a:gd name="connsiteY2" fmla="*/ 5489 h 11838"/>
                <a:gd name="connsiteX3" fmla="*/ 5694 w 11838"/>
                <a:gd name="connsiteY3" fmla="*/ 11409 h 11838"/>
                <a:gd name="connsiteX4" fmla="*/ 11614 w 11838"/>
                <a:gd name="connsiteY4" fmla="*/ 5489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8" h="11838">
                  <a:moveTo>
                    <a:pt x="11614" y="5489"/>
                  </a:moveTo>
                  <a:cubicBezTo>
                    <a:pt x="11614" y="2220"/>
                    <a:pt x="8963" y="-430"/>
                    <a:pt x="5694" y="-430"/>
                  </a:cubicBezTo>
                  <a:cubicBezTo>
                    <a:pt x="2425" y="-430"/>
                    <a:pt x="-225" y="2220"/>
                    <a:pt x="-225" y="5489"/>
                  </a:cubicBezTo>
                  <a:cubicBezTo>
                    <a:pt x="-225" y="8759"/>
                    <a:pt x="2425" y="11409"/>
                    <a:pt x="5694" y="11409"/>
                  </a:cubicBezTo>
                  <a:cubicBezTo>
                    <a:pt x="8963" y="11409"/>
                    <a:pt x="11614" y="8759"/>
                    <a:pt x="11614" y="5489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45B777B-422A-42E1-9FEF-493C5441CEB7}"/>
                </a:ext>
              </a:extLst>
            </p:cNvPr>
            <p:cNvSpPr/>
            <p:nvPr/>
          </p:nvSpPr>
          <p:spPr>
            <a:xfrm>
              <a:off x="372982" y="4949728"/>
              <a:ext cx="10286" cy="10286"/>
            </a:xfrm>
            <a:custGeom>
              <a:avLst/>
              <a:gdLst>
                <a:gd name="connsiteX0" fmla="*/ 4918 w 10286"/>
                <a:gd name="connsiteY0" fmla="*/ 9856 h 10286"/>
                <a:gd name="connsiteX1" fmla="*/ 10061 w 10286"/>
                <a:gd name="connsiteY1" fmla="*/ 4713 h 10286"/>
                <a:gd name="connsiteX2" fmla="*/ 4918 w 10286"/>
                <a:gd name="connsiteY2" fmla="*/ -430 h 10286"/>
                <a:gd name="connsiteX3" fmla="*/ -225 w 10286"/>
                <a:gd name="connsiteY3" fmla="*/ 4713 h 10286"/>
                <a:gd name="connsiteX4" fmla="*/ 4918 w 10286"/>
                <a:gd name="connsiteY4" fmla="*/ 9856 h 10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86" h="10286">
                  <a:moveTo>
                    <a:pt x="4918" y="9856"/>
                  </a:moveTo>
                  <a:cubicBezTo>
                    <a:pt x="7758" y="9856"/>
                    <a:pt x="10061" y="7554"/>
                    <a:pt x="10061" y="4713"/>
                  </a:cubicBezTo>
                  <a:cubicBezTo>
                    <a:pt x="10061" y="1873"/>
                    <a:pt x="7758" y="-430"/>
                    <a:pt x="4918" y="-430"/>
                  </a:cubicBezTo>
                  <a:cubicBezTo>
                    <a:pt x="2077" y="-430"/>
                    <a:pt x="-225" y="1873"/>
                    <a:pt x="-225" y="4713"/>
                  </a:cubicBezTo>
                  <a:cubicBezTo>
                    <a:pt x="-225" y="7554"/>
                    <a:pt x="2077" y="9856"/>
                    <a:pt x="4918" y="9856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0D0337E-6257-43B6-8A33-5D5B00F11F62}"/>
                </a:ext>
              </a:extLst>
            </p:cNvPr>
            <p:cNvSpPr/>
            <p:nvPr/>
          </p:nvSpPr>
          <p:spPr>
            <a:xfrm>
              <a:off x="360609" y="4960791"/>
              <a:ext cx="11838" cy="11838"/>
            </a:xfrm>
            <a:custGeom>
              <a:avLst/>
              <a:gdLst>
                <a:gd name="connsiteX0" fmla="*/ -225 w 11838"/>
                <a:gd name="connsiteY0" fmla="*/ 5441 h 11838"/>
                <a:gd name="connsiteX1" fmla="*/ 5646 w 11838"/>
                <a:gd name="connsiteY1" fmla="*/ 11409 h 11838"/>
                <a:gd name="connsiteX2" fmla="*/ 11613 w 11838"/>
                <a:gd name="connsiteY2" fmla="*/ 5538 h 11838"/>
                <a:gd name="connsiteX3" fmla="*/ 5742 w 11838"/>
                <a:gd name="connsiteY3" fmla="*/ -430 h 11838"/>
                <a:gd name="connsiteX4" fmla="*/ 5646 w 11838"/>
                <a:gd name="connsiteY4" fmla="*/ -430 h 11838"/>
                <a:gd name="connsiteX5" fmla="*/ -225 w 11838"/>
                <a:gd name="connsiteY5" fmla="*/ 5441 h 11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838" h="11838">
                  <a:moveTo>
                    <a:pt x="-225" y="5441"/>
                  </a:moveTo>
                  <a:cubicBezTo>
                    <a:pt x="-252" y="8710"/>
                    <a:pt x="2377" y="11382"/>
                    <a:pt x="5646" y="11409"/>
                  </a:cubicBezTo>
                  <a:cubicBezTo>
                    <a:pt x="8915" y="11435"/>
                    <a:pt x="11587" y="8807"/>
                    <a:pt x="11613" y="5538"/>
                  </a:cubicBezTo>
                  <a:cubicBezTo>
                    <a:pt x="11640" y="2269"/>
                    <a:pt x="9012" y="-403"/>
                    <a:pt x="5742" y="-430"/>
                  </a:cubicBezTo>
                  <a:cubicBezTo>
                    <a:pt x="5710" y="-430"/>
                    <a:pt x="5678" y="-430"/>
                    <a:pt x="5646" y="-430"/>
                  </a:cubicBezTo>
                  <a:cubicBezTo>
                    <a:pt x="2403" y="-430"/>
                    <a:pt x="-225" y="2199"/>
                    <a:pt x="-225" y="544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BCDA05F-0DFB-434E-8D63-F21AC9981CFC}"/>
                </a:ext>
              </a:extLst>
            </p:cNvPr>
            <p:cNvSpPr/>
            <p:nvPr/>
          </p:nvSpPr>
          <p:spPr>
            <a:xfrm>
              <a:off x="373709" y="4962392"/>
              <a:ext cx="8830" cy="8830"/>
            </a:xfrm>
            <a:custGeom>
              <a:avLst/>
              <a:gdLst>
                <a:gd name="connsiteX0" fmla="*/ 4190 w 8830"/>
                <a:gd name="connsiteY0" fmla="*/ -430 h 8830"/>
                <a:gd name="connsiteX1" fmla="*/ -225 w 8830"/>
                <a:gd name="connsiteY1" fmla="*/ 3985 h 8830"/>
                <a:gd name="connsiteX2" fmla="*/ 4190 w 8830"/>
                <a:gd name="connsiteY2" fmla="*/ 8401 h 8830"/>
                <a:gd name="connsiteX3" fmla="*/ 8605 w 8830"/>
                <a:gd name="connsiteY3" fmla="*/ 3985 h 8830"/>
                <a:gd name="connsiteX4" fmla="*/ 4190 w 8830"/>
                <a:gd name="connsiteY4" fmla="*/ -430 h 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30" h="8830">
                  <a:moveTo>
                    <a:pt x="4190" y="-430"/>
                  </a:moveTo>
                  <a:cubicBezTo>
                    <a:pt x="1752" y="-430"/>
                    <a:pt x="-225" y="1547"/>
                    <a:pt x="-225" y="3985"/>
                  </a:cubicBezTo>
                  <a:cubicBezTo>
                    <a:pt x="-225" y="6424"/>
                    <a:pt x="1752" y="8401"/>
                    <a:pt x="4190" y="8401"/>
                  </a:cubicBezTo>
                  <a:cubicBezTo>
                    <a:pt x="6629" y="8401"/>
                    <a:pt x="8605" y="6424"/>
                    <a:pt x="8605" y="3985"/>
                  </a:cubicBezTo>
                  <a:cubicBezTo>
                    <a:pt x="8605" y="1547"/>
                    <a:pt x="6629" y="-430"/>
                    <a:pt x="4190" y="-430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261AAF30-1E5F-4CD3-9063-4CD80BA1F755}"/>
                </a:ext>
              </a:extLst>
            </p:cNvPr>
            <p:cNvSpPr/>
            <p:nvPr/>
          </p:nvSpPr>
          <p:spPr>
            <a:xfrm>
              <a:off x="668662" y="4931388"/>
              <a:ext cx="44104" cy="45045"/>
            </a:xfrm>
            <a:custGeom>
              <a:avLst/>
              <a:gdLst>
                <a:gd name="connsiteX0" fmla="*/ 33448 w 44104"/>
                <a:gd name="connsiteY0" fmla="*/ -430 h 45045"/>
                <a:gd name="connsiteX1" fmla="*/ 26121 w 44104"/>
                <a:gd name="connsiteY1" fmla="*/ 34844 h 45045"/>
                <a:gd name="connsiteX2" fmla="*/ 17290 w 44104"/>
                <a:gd name="connsiteY2" fmla="*/ 34844 h 45045"/>
                <a:gd name="connsiteX3" fmla="*/ 10061 w 44104"/>
                <a:gd name="connsiteY3" fmla="*/ -430 h 45045"/>
                <a:gd name="connsiteX4" fmla="*/ -225 w 44104"/>
                <a:gd name="connsiteY4" fmla="*/ -430 h 45045"/>
                <a:gd name="connsiteX5" fmla="*/ 8605 w 44104"/>
                <a:gd name="connsiteY5" fmla="*/ 33534 h 45045"/>
                <a:gd name="connsiteX6" fmla="*/ 21851 w 44104"/>
                <a:gd name="connsiteY6" fmla="*/ 44597 h 45045"/>
                <a:gd name="connsiteX7" fmla="*/ 35049 w 44104"/>
                <a:gd name="connsiteY7" fmla="*/ 33534 h 45045"/>
                <a:gd name="connsiteX8" fmla="*/ 43879 w 44104"/>
                <a:gd name="connsiteY8" fmla="*/ -430 h 4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104" h="45045">
                  <a:moveTo>
                    <a:pt x="33448" y="-430"/>
                  </a:moveTo>
                  <a:lnTo>
                    <a:pt x="26121" y="34844"/>
                  </a:lnTo>
                  <a:lnTo>
                    <a:pt x="1729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276" y="24558"/>
                    <a:pt x="8605" y="33534"/>
                  </a:cubicBezTo>
                  <a:cubicBezTo>
                    <a:pt x="9436" y="40125"/>
                    <a:pt x="15218" y="44954"/>
                    <a:pt x="21851" y="44597"/>
                  </a:cubicBezTo>
                  <a:cubicBezTo>
                    <a:pt x="29129" y="44597"/>
                    <a:pt x="32865" y="42365"/>
                    <a:pt x="35049" y="33534"/>
                  </a:cubicBezTo>
                  <a:cubicBezTo>
                    <a:pt x="37232" y="24704"/>
                    <a:pt x="43879" y="-430"/>
                    <a:pt x="43879" y="-430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1A0A60F8-03A2-4F61-B78E-3B95B56313E6}"/>
                </a:ext>
              </a:extLst>
            </p:cNvPr>
            <p:cNvSpPr/>
            <p:nvPr/>
          </p:nvSpPr>
          <p:spPr>
            <a:xfrm>
              <a:off x="460221" y="4915570"/>
              <a:ext cx="12518" cy="12518"/>
            </a:xfrm>
            <a:custGeom>
              <a:avLst/>
              <a:gdLst>
                <a:gd name="connsiteX0" fmla="*/ 5985 w 12518"/>
                <a:gd name="connsiteY0" fmla="*/ 12088 h 12518"/>
                <a:gd name="connsiteX1" fmla="*/ 12293 w 12518"/>
                <a:gd name="connsiteY1" fmla="*/ 5878 h 12518"/>
                <a:gd name="connsiteX2" fmla="*/ 6082 w 12518"/>
                <a:gd name="connsiteY2" fmla="*/ -430 h 12518"/>
                <a:gd name="connsiteX3" fmla="*/ -225 w 12518"/>
                <a:gd name="connsiteY3" fmla="*/ 5781 h 12518"/>
                <a:gd name="connsiteX4" fmla="*/ -225 w 12518"/>
                <a:gd name="connsiteY4" fmla="*/ 5829 h 12518"/>
                <a:gd name="connsiteX5" fmla="*/ 5985 w 12518"/>
                <a:gd name="connsiteY5" fmla="*/ 12088 h 1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518" h="12518">
                  <a:moveTo>
                    <a:pt x="5985" y="12088"/>
                  </a:moveTo>
                  <a:cubicBezTo>
                    <a:pt x="9442" y="12115"/>
                    <a:pt x="12266" y="9334"/>
                    <a:pt x="12293" y="5878"/>
                  </a:cubicBezTo>
                  <a:cubicBezTo>
                    <a:pt x="12319" y="2421"/>
                    <a:pt x="9539" y="-403"/>
                    <a:pt x="6082" y="-430"/>
                  </a:cubicBezTo>
                  <a:cubicBezTo>
                    <a:pt x="2626" y="-457"/>
                    <a:pt x="-198" y="2324"/>
                    <a:pt x="-225" y="5781"/>
                  </a:cubicBezTo>
                  <a:cubicBezTo>
                    <a:pt x="-225" y="5797"/>
                    <a:pt x="-225" y="5813"/>
                    <a:pt x="-225" y="5829"/>
                  </a:cubicBezTo>
                  <a:cubicBezTo>
                    <a:pt x="-225" y="9267"/>
                    <a:pt x="2547" y="12061"/>
                    <a:pt x="5985" y="12088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BAFDD46-3F79-4ABA-99B9-5B4F6A10C616}"/>
                </a:ext>
              </a:extLst>
            </p:cNvPr>
            <p:cNvSpPr/>
            <p:nvPr/>
          </p:nvSpPr>
          <p:spPr>
            <a:xfrm>
              <a:off x="413544" y="4913872"/>
              <a:ext cx="35273" cy="61766"/>
            </a:xfrm>
            <a:custGeom>
              <a:avLst/>
              <a:gdLst>
                <a:gd name="connsiteX0" fmla="*/ 18892 w 35273"/>
                <a:gd name="connsiteY0" fmla="*/ 25916 h 61766"/>
                <a:gd name="connsiteX1" fmla="*/ 30633 w 35273"/>
                <a:gd name="connsiteY1" fmla="*/ 25916 h 61766"/>
                <a:gd name="connsiteX2" fmla="*/ 30633 w 35273"/>
                <a:gd name="connsiteY2" fmla="*/ 17086 h 61766"/>
                <a:gd name="connsiteX3" fmla="*/ 18892 w 35273"/>
                <a:gd name="connsiteY3" fmla="*/ 17086 h 61766"/>
                <a:gd name="connsiteX4" fmla="*/ 18892 w 35273"/>
                <a:gd name="connsiteY4" fmla="*/ -430 h 61766"/>
                <a:gd name="connsiteX5" fmla="*/ 10061 w 35273"/>
                <a:gd name="connsiteY5" fmla="*/ -430 h 61766"/>
                <a:gd name="connsiteX6" fmla="*/ 10061 w 35273"/>
                <a:gd name="connsiteY6" fmla="*/ 17231 h 61766"/>
                <a:gd name="connsiteX7" fmla="*/ -225 w 35273"/>
                <a:gd name="connsiteY7" fmla="*/ 17231 h 61766"/>
                <a:gd name="connsiteX8" fmla="*/ -225 w 35273"/>
                <a:gd name="connsiteY8" fmla="*/ 26062 h 61766"/>
                <a:gd name="connsiteX9" fmla="*/ 10061 w 35273"/>
                <a:gd name="connsiteY9" fmla="*/ 26062 h 61766"/>
                <a:gd name="connsiteX10" fmla="*/ 10061 w 35273"/>
                <a:gd name="connsiteY10" fmla="*/ 39259 h 61766"/>
                <a:gd name="connsiteX11" fmla="*/ 31361 w 35273"/>
                <a:gd name="connsiteY11" fmla="*/ 61336 h 61766"/>
                <a:gd name="connsiteX12" fmla="*/ 35049 w 35273"/>
                <a:gd name="connsiteY12" fmla="*/ 61336 h 61766"/>
                <a:gd name="connsiteX13" fmla="*/ 35049 w 35273"/>
                <a:gd name="connsiteY13" fmla="*/ 52505 h 61766"/>
                <a:gd name="connsiteX14" fmla="*/ 18892 w 3527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273" h="61766">
                  <a:moveTo>
                    <a:pt x="18892" y="25916"/>
                  </a:moveTo>
                  <a:lnTo>
                    <a:pt x="30633" y="25916"/>
                  </a:lnTo>
                  <a:lnTo>
                    <a:pt x="30633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259"/>
                  </a:lnTo>
                  <a:cubicBezTo>
                    <a:pt x="10061" y="52505"/>
                    <a:pt x="16660" y="61336"/>
                    <a:pt x="31361" y="61336"/>
                  </a:cubicBezTo>
                  <a:lnTo>
                    <a:pt x="35049" y="61336"/>
                  </a:lnTo>
                  <a:lnTo>
                    <a:pt x="35049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61AE0C9-4144-43F9-A524-8675A64D4BEF}"/>
                </a:ext>
              </a:extLst>
            </p:cNvPr>
            <p:cNvSpPr/>
            <p:nvPr/>
          </p:nvSpPr>
          <p:spPr>
            <a:xfrm>
              <a:off x="453137" y="4931388"/>
              <a:ext cx="30858" cy="44056"/>
            </a:xfrm>
            <a:custGeom>
              <a:avLst/>
              <a:gdLst>
                <a:gd name="connsiteX0" fmla="*/ 21803 w 30858"/>
                <a:gd name="connsiteY0" fmla="*/ 20870 h 44056"/>
                <a:gd name="connsiteX1" fmla="*/ -225 w 30858"/>
                <a:gd name="connsiteY1" fmla="*/ -430 h 44056"/>
                <a:gd name="connsiteX2" fmla="*/ -225 w 30858"/>
                <a:gd name="connsiteY2" fmla="*/ 8352 h 44056"/>
                <a:gd name="connsiteX3" fmla="*/ 12972 w 30858"/>
                <a:gd name="connsiteY3" fmla="*/ 8352 h 44056"/>
                <a:gd name="connsiteX4" fmla="*/ 12972 w 30858"/>
                <a:gd name="connsiteY4" fmla="*/ 34844 h 44056"/>
                <a:gd name="connsiteX5" fmla="*/ 4190 w 30858"/>
                <a:gd name="connsiteY5" fmla="*/ 34844 h 44056"/>
                <a:gd name="connsiteX6" fmla="*/ 4190 w 30858"/>
                <a:gd name="connsiteY6" fmla="*/ 43626 h 44056"/>
                <a:gd name="connsiteX7" fmla="*/ 30633 w 30858"/>
                <a:gd name="connsiteY7" fmla="*/ 43626 h 44056"/>
                <a:gd name="connsiteX8" fmla="*/ 30633 w 30858"/>
                <a:gd name="connsiteY8" fmla="*/ 34844 h 44056"/>
                <a:gd name="connsiteX9" fmla="*/ 21803 w 30858"/>
                <a:gd name="connsiteY9" fmla="*/ 34844 h 4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8" h="44056">
                  <a:moveTo>
                    <a:pt x="21803" y="20870"/>
                  </a:moveTo>
                  <a:cubicBezTo>
                    <a:pt x="21803" y="7285"/>
                    <a:pt x="12972" y="-430"/>
                    <a:pt x="-225" y="-430"/>
                  </a:cubicBezTo>
                  <a:lnTo>
                    <a:pt x="-225" y="8352"/>
                  </a:lnTo>
                  <a:lnTo>
                    <a:pt x="12972" y="8352"/>
                  </a:lnTo>
                  <a:lnTo>
                    <a:pt x="12972" y="34844"/>
                  </a:lnTo>
                  <a:lnTo>
                    <a:pt x="4190" y="34844"/>
                  </a:lnTo>
                  <a:lnTo>
                    <a:pt x="4190" y="43626"/>
                  </a:lnTo>
                  <a:lnTo>
                    <a:pt x="30633" y="43626"/>
                  </a:lnTo>
                  <a:lnTo>
                    <a:pt x="30633" y="34844"/>
                  </a:lnTo>
                  <a:lnTo>
                    <a:pt x="21803" y="34844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CCFBA73-1C05-4642-8FD7-EC0C2827D718}"/>
                </a:ext>
              </a:extLst>
            </p:cNvPr>
            <p:cNvSpPr/>
            <p:nvPr/>
          </p:nvSpPr>
          <p:spPr>
            <a:xfrm>
              <a:off x="710438" y="4931328"/>
              <a:ext cx="30858" cy="44019"/>
            </a:xfrm>
            <a:custGeom>
              <a:avLst/>
              <a:gdLst>
                <a:gd name="connsiteX0" fmla="*/ 14476 w 30858"/>
                <a:gd name="connsiteY0" fmla="*/ 8461 h 44019"/>
                <a:gd name="connsiteX1" fmla="*/ 27674 w 30858"/>
                <a:gd name="connsiteY1" fmla="*/ 8461 h 44019"/>
                <a:gd name="connsiteX2" fmla="*/ 27674 w 30858"/>
                <a:gd name="connsiteY2" fmla="*/ -370 h 44019"/>
                <a:gd name="connsiteX3" fmla="*/ 5704 w 30858"/>
                <a:gd name="connsiteY3" fmla="*/ 18493 h 44019"/>
                <a:gd name="connsiteX4" fmla="*/ 5646 w 30858"/>
                <a:gd name="connsiteY4" fmla="*/ 20203 h 44019"/>
                <a:gd name="connsiteX5" fmla="*/ 5646 w 30858"/>
                <a:gd name="connsiteY5" fmla="*/ 34759 h 44019"/>
                <a:gd name="connsiteX6" fmla="*/ -225 w 30858"/>
                <a:gd name="connsiteY6" fmla="*/ 34759 h 44019"/>
                <a:gd name="connsiteX7" fmla="*/ -225 w 30858"/>
                <a:gd name="connsiteY7" fmla="*/ 43589 h 44019"/>
                <a:gd name="connsiteX8" fmla="*/ 30633 w 30858"/>
                <a:gd name="connsiteY8" fmla="*/ 43589 h 44019"/>
                <a:gd name="connsiteX9" fmla="*/ 30633 w 30858"/>
                <a:gd name="connsiteY9" fmla="*/ 34759 h 44019"/>
                <a:gd name="connsiteX10" fmla="*/ 14476 w 30858"/>
                <a:gd name="connsiteY10" fmla="*/ 34759 h 44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8" h="44019">
                  <a:moveTo>
                    <a:pt x="14476" y="8461"/>
                  </a:moveTo>
                  <a:lnTo>
                    <a:pt x="27674" y="8461"/>
                  </a:lnTo>
                  <a:lnTo>
                    <a:pt x="27674" y="-370"/>
                  </a:lnTo>
                  <a:cubicBezTo>
                    <a:pt x="16398" y="-1228"/>
                    <a:pt x="6562" y="7217"/>
                    <a:pt x="5704" y="18493"/>
                  </a:cubicBezTo>
                  <a:cubicBezTo>
                    <a:pt x="5661" y="19062"/>
                    <a:pt x="5641" y="19632"/>
                    <a:pt x="5646" y="20203"/>
                  </a:cubicBezTo>
                  <a:lnTo>
                    <a:pt x="5646" y="34759"/>
                  </a:lnTo>
                  <a:lnTo>
                    <a:pt x="-225" y="34759"/>
                  </a:lnTo>
                  <a:lnTo>
                    <a:pt x="-225" y="43589"/>
                  </a:lnTo>
                  <a:lnTo>
                    <a:pt x="30633" y="43589"/>
                  </a:lnTo>
                  <a:lnTo>
                    <a:pt x="30633" y="34759"/>
                  </a:lnTo>
                  <a:lnTo>
                    <a:pt x="14476" y="34759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B432E7C-57D1-4945-8842-A6509C2261F7}"/>
                </a:ext>
              </a:extLst>
            </p:cNvPr>
            <p:cNvSpPr/>
            <p:nvPr/>
          </p:nvSpPr>
          <p:spPr>
            <a:xfrm>
              <a:off x="744984" y="4931388"/>
              <a:ext cx="44783" cy="63318"/>
            </a:xfrm>
            <a:custGeom>
              <a:avLst/>
              <a:gdLst>
                <a:gd name="connsiteX0" fmla="*/ 34272 w 44783"/>
                <a:gd name="connsiteY0" fmla="*/ -430 h 63318"/>
                <a:gd name="connsiteX1" fmla="*/ 27674 w 44783"/>
                <a:gd name="connsiteY1" fmla="*/ 34844 h 63318"/>
                <a:gd name="connsiteX2" fmla="*/ 16660 w 44783"/>
                <a:gd name="connsiteY2" fmla="*/ 34844 h 63318"/>
                <a:gd name="connsiteX3" fmla="*/ 10061 w 44783"/>
                <a:gd name="connsiteY3" fmla="*/ -430 h 63318"/>
                <a:gd name="connsiteX4" fmla="*/ -225 w 44783"/>
                <a:gd name="connsiteY4" fmla="*/ -430 h 63318"/>
                <a:gd name="connsiteX5" fmla="*/ 7829 w 44783"/>
                <a:gd name="connsiteY5" fmla="*/ 31884 h 63318"/>
                <a:gd name="connsiteX6" fmla="*/ 19668 w 44783"/>
                <a:gd name="connsiteY6" fmla="*/ 44403 h 63318"/>
                <a:gd name="connsiteX7" fmla="*/ 23986 w 44783"/>
                <a:gd name="connsiteY7" fmla="*/ 44403 h 63318"/>
                <a:gd name="connsiteX8" fmla="*/ 23986 w 44783"/>
                <a:gd name="connsiteY8" fmla="*/ 54107 h 63318"/>
                <a:gd name="connsiteX9" fmla="*/ 7829 w 44783"/>
                <a:gd name="connsiteY9" fmla="*/ 54107 h 63318"/>
                <a:gd name="connsiteX10" fmla="*/ 7829 w 44783"/>
                <a:gd name="connsiteY10" fmla="*/ 62889 h 63318"/>
                <a:gd name="connsiteX11" fmla="*/ 10789 w 44783"/>
                <a:gd name="connsiteY11" fmla="*/ 62889 h 63318"/>
                <a:gd name="connsiteX12" fmla="*/ 32817 w 44783"/>
                <a:gd name="connsiteY12" fmla="*/ 46732 h 63318"/>
                <a:gd name="connsiteX13" fmla="*/ 44559 w 44783"/>
                <a:gd name="connsiteY13" fmla="*/ -284 h 6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783" h="63318">
                  <a:moveTo>
                    <a:pt x="34272" y="-430"/>
                  </a:moveTo>
                  <a:lnTo>
                    <a:pt x="27674" y="34844"/>
                  </a:lnTo>
                  <a:lnTo>
                    <a:pt x="16660" y="34844"/>
                  </a:lnTo>
                  <a:lnTo>
                    <a:pt x="10061" y="-430"/>
                  </a:lnTo>
                  <a:lnTo>
                    <a:pt x="-225" y="-430"/>
                  </a:lnTo>
                  <a:cubicBezTo>
                    <a:pt x="-225" y="-430"/>
                    <a:pt x="6470" y="26353"/>
                    <a:pt x="7829" y="31884"/>
                  </a:cubicBezTo>
                  <a:cubicBezTo>
                    <a:pt x="9188" y="37416"/>
                    <a:pt x="12293" y="44403"/>
                    <a:pt x="19668" y="44403"/>
                  </a:cubicBezTo>
                  <a:lnTo>
                    <a:pt x="23986" y="44403"/>
                  </a:lnTo>
                  <a:lnTo>
                    <a:pt x="23986" y="54107"/>
                  </a:lnTo>
                  <a:lnTo>
                    <a:pt x="7829" y="54107"/>
                  </a:lnTo>
                  <a:lnTo>
                    <a:pt x="7829" y="62889"/>
                  </a:lnTo>
                  <a:lnTo>
                    <a:pt x="10789" y="62889"/>
                  </a:lnTo>
                  <a:cubicBezTo>
                    <a:pt x="20876" y="62904"/>
                    <a:pt x="29801" y="56358"/>
                    <a:pt x="32817" y="46732"/>
                  </a:cubicBezTo>
                  <a:cubicBezTo>
                    <a:pt x="34903" y="38435"/>
                    <a:pt x="44559" y="-284"/>
                    <a:pt x="44559" y="-284"/>
                  </a:cubicBez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36BA895-901A-4EA1-839D-68CDC919D650}"/>
                </a:ext>
              </a:extLst>
            </p:cNvPr>
            <p:cNvSpPr/>
            <p:nvPr/>
          </p:nvSpPr>
          <p:spPr>
            <a:xfrm>
              <a:off x="622180" y="4930651"/>
              <a:ext cx="45560" cy="44793"/>
            </a:xfrm>
            <a:custGeom>
              <a:avLst/>
              <a:gdLst>
                <a:gd name="connsiteX0" fmla="*/ 35097 w 45560"/>
                <a:gd name="connsiteY0" fmla="*/ 17920 h 44793"/>
                <a:gd name="connsiteX1" fmla="*/ 10109 w 45560"/>
                <a:gd name="connsiteY1" fmla="*/ 17920 h 44793"/>
                <a:gd name="connsiteX2" fmla="*/ 10109 w 45560"/>
                <a:gd name="connsiteY2" fmla="*/ 9138 h 44793"/>
                <a:gd name="connsiteX3" fmla="*/ 35097 w 45560"/>
                <a:gd name="connsiteY3" fmla="*/ 9138 h 44793"/>
                <a:gd name="connsiteX4" fmla="*/ 22579 w 45560"/>
                <a:gd name="connsiteY4" fmla="*/ -421 h 44793"/>
                <a:gd name="connsiteX5" fmla="*/ -217 w 45560"/>
                <a:gd name="connsiteY5" fmla="*/ 21113 h 44793"/>
                <a:gd name="connsiteX6" fmla="*/ -225 w 45560"/>
                <a:gd name="connsiteY6" fmla="*/ 21607 h 44793"/>
                <a:gd name="connsiteX7" fmla="*/ 21851 w 45560"/>
                <a:gd name="connsiteY7" fmla="*/ 44363 h 44793"/>
                <a:gd name="connsiteX8" fmla="*/ 40920 w 45560"/>
                <a:gd name="connsiteY8" fmla="*/ 44363 h 44793"/>
                <a:gd name="connsiteX9" fmla="*/ 40920 w 45560"/>
                <a:gd name="connsiteY9" fmla="*/ 35581 h 44793"/>
                <a:gd name="connsiteX10" fmla="*/ 10061 w 45560"/>
                <a:gd name="connsiteY10" fmla="*/ 35581 h 44793"/>
                <a:gd name="connsiteX11" fmla="*/ 10061 w 45560"/>
                <a:gd name="connsiteY11" fmla="*/ 26750 h 44793"/>
                <a:gd name="connsiteX12" fmla="*/ 45335 w 45560"/>
                <a:gd name="connsiteY12" fmla="*/ 26750 h 44793"/>
                <a:gd name="connsiteX13" fmla="*/ 45335 w 45560"/>
                <a:gd name="connsiteY13" fmla="*/ 21607 h 44793"/>
                <a:gd name="connsiteX14" fmla="*/ 23122 w 45560"/>
                <a:gd name="connsiteY14" fmla="*/ -430 h 44793"/>
                <a:gd name="connsiteX15" fmla="*/ 22579 w 45560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560" h="44793">
                  <a:moveTo>
                    <a:pt x="35097" y="17920"/>
                  </a:moveTo>
                  <a:lnTo>
                    <a:pt x="10109" y="17920"/>
                  </a:lnTo>
                  <a:lnTo>
                    <a:pt x="10109" y="9138"/>
                  </a:lnTo>
                  <a:lnTo>
                    <a:pt x="35097" y="9138"/>
                  </a:lnTo>
                  <a:close/>
                  <a:moveTo>
                    <a:pt x="22579" y="-421"/>
                  </a:moveTo>
                  <a:cubicBezTo>
                    <a:pt x="10338" y="-769"/>
                    <a:pt x="132" y="8871"/>
                    <a:pt x="-217" y="21113"/>
                  </a:cubicBezTo>
                  <a:cubicBezTo>
                    <a:pt x="-221" y="21277"/>
                    <a:pt x="-224" y="21442"/>
                    <a:pt x="-225" y="21607"/>
                  </a:cubicBezTo>
                  <a:cubicBezTo>
                    <a:pt x="-231" y="33914"/>
                    <a:pt x="9550" y="43996"/>
                    <a:pt x="21851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061" y="35581"/>
                  </a:lnTo>
                  <a:lnTo>
                    <a:pt x="10061" y="26750"/>
                  </a:lnTo>
                  <a:lnTo>
                    <a:pt x="45335" y="26750"/>
                  </a:lnTo>
                  <a:lnTo>
                    <a:pt x="45335" y="21607"/>
                  </a:lnTo>
                  <a:cubicBezTo>
                    <a:pt x="45286" y="9388"/>
                    <a:pt x="35341" y="-478"/>
                    <a:pt x="23122" y="-430"/>
                  </a:cubicBezTo>
                  <a:cubicBezTo>
                    <a:pt x="22941" y="-429"/>
                    <a:pt x="22760" y="-426"/>
                    <a:pt x="22579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9773566D-F5D6-45EA-8088-C1671AE93497}"/>
                </a:ext>
              </a:extLst>
            </p:cNvPr>
            <p:cNvSpPr/>
            <p:nvPr/>
          </p:nvSpPr>
          <p:spPr>
            <a:xfrm>
              <a:off x="531108" y="4913872"/>
              <a:ext cx="38233" cy="61766"/>
            </a:xfrm>
            <a:custGeom>
              <a:avLst/>
              <a:gdLst>
                <a:gd name="connsiteX0" fmla="*/ 18892 w 38233"/>
                <a:gd name="connsiteY0" fmla="*/ 25916 h 61766"/>
                <a:gd name="connsiteX1" fmla="*/ 33448 w 38233"/>
                <a:gd name="connsiteY1" fmla="*/ 25916 h 61766"/>
                <a:gd name="connsiteX2" fmla="*/ 33448 w 38233"/>
                <a:gd name="connsiteY2" fmla="*/ 17086 h 61766"/>
                <a:gd name="connsiteX3" fmla="*/ 18892 w 38233"/>
                <a:gd name="connsiteY3" fmla="*/ 17086 h 61766"/>
                <a:gd name="connsiteX4" fmla="*/ 18892 w 38233"/>
                <a:gd name="connsiteY4" fmla="*/ -430 h 61766"/>
                <a:gd name="connsiteX5" fmla="*/ 10061 w 38233"/>
                <a:gd name="connsiteY5" fmla="*/ -430 h 61766"/>
                <a:gd name="connsiteX6" fmla="*/ 10061 w 38233"/>
                <a:gd name="connsiteY6" fmla="*/ 17231 h 61766"/>
                <a:gd name="connsiteX7" fmla="*/ -225 w 38233"/>
                <a:gd name="connsiteY7" fmla="*/ 17231 h 61766"/>
                <a:gd name="connsiteX8" fmla="*/ -225 w 38233"/>
                <a:gd name="connsiteY8" fmla="*/ 26062 h 61766"/>
                <a:gd name="connsiteX9" fmla="*/ 10061 w 38233"/>
                <a:gd name="connsiteY9" fmla="*/ 26062 h 61766"/>
                <a:gd name="connsiteX10" fmla="*/ 10061 w 38233"/>
                <a:gd name="connsiteY10" fmla="*/ 39987 h 61766"/>
                <a:gd name="connsiteX11" fmla="*/ 31361 w 38233"/>
                <a:gd name="connsiteY11" fmla="*/ 61336 h 61766"/>
                <a:gd name="connsiteX12" fmla="*/ 38008 w 38233"/>
                <a:gd name="connsiteY12" fmla="*/ 61336 h 61766"/>
                <a:gd name="connsiteX13" fmla="*/ 38008 w 38233"/>
                <a:gd name="connsiteY13" fmla="*/ 52505 h 61766"/>
                <a:gd name="connsiteX14" fmla="*/ 18892 w 38233"/>
                <a:gd name="connsiteY14" fmla="*/ 52505 h 61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233" h="61766">
                  <a:moveTo>
                    <a:pt x="18892" y="25916"/>
                  </a:moveTo>
                  <a:lnTo>
                    <a:pt x="33448" y="25916"/>
                  </a:lnTo>
                  <a:lnTo>
                    <a:pt x="33448" y="17086"/>
                  </a:lnTo>
                  <a:lnTo>
                    <a:pt x="18892" y="17086"/>
                  </a:lnTo>
                  <a:lnTo>
                    <a:pt x="18892" y="-430"/>
                  </a:lnTo>
                  <a:lnTo>
                    <a:pt x="10061" y="-430"/>
                  </a:lnTo>
                  <a:lnTo>
                    <a:pt x="10061" y="17231"/>
                  </a:lnTo>
                  <a:lnTo>
                    <a:pt x="-225" y="17231"/>
                  </a:lnTo>
                  <a:lnTo>
                    <a:pt x="-225" y="26062"/>
                  </a:lnTo>
                  <a:lnTo>
                    <a:pt x="10061" y="26062"/>
                  </a:lnTo>
                  <a:lnTo>
                    <a:pt x="10061" y="39987"/>
                  </a:lnTo>
                  <a:cubicBezTo>
                    <a:pt x="10061" y="53233"/>
                    <a:pt x="16660" y="61336"/>
                    <a:pt x="31361" y="61336"/>
                  </a:cubicBezTo>
                  <a:lnTo>
                    <a:pt x="38008" y="61336"/>
                  </a:lnTo>
                  <a:lnTo>
                    <a:pt x="38008" y="52505"/>
                  </a:lnTo>
                  <a:lnTo>
                    <a:pt x="18892" y="52505"/>
                  </a:lnTo>
                  <a:close/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73E19993-6F5D-408F-A761-CFB189BD3ED2}"/>
                </a:ext>
              </a:extLst>
            </p:cNvPr>
            <p:cNvSpPr/>
            <p:nvPr/>
          </p:nvSpPr>
          <p:spPr>
            <a:xfrm>
              <a:off x="571477" y="4930654"/>
              <a:ext cx="45614" cy="45614"/>
            </a:xfrm>
            <a:custGeom>
              <a:avLst/>
              <a:gdLst>
                <a:gd name="connsiteX0" fmla="*/ 35825 w 45614"/>
                <a:gd name="connsiteY0" fmla="*/ 35577 h 45614"/>
                <a:gd name="connsiteX1" fmla="*/ 9382 w 45614"/>
                <a:gd name="connsiteY1" fmla="*/ 35577 h 45614"/>
                <a:gd name="connsiteX2" fmla="*/ 9382 w 45614"/>
                <a:gd name="connsiteY2" fmla="*/ 9085 h 45614"/>
                <a:gd name="connsiteX3" fmla="*/ 35825 w 45614"/>
                <a:gd name="connsiteY3" fmla="*/ 9085 h 45614"/>
                <a:gd name="connsiteX4" fmla="*/ 22628 w 45614"/>
                <a:gd name="connsiteY4" fmla="*/ -425 h 45614"/>
                <a:gd name="connsiteX5" fmla="*/ -225 w 45614"/>
                <a:gd name="connsiteY5" fmla="*/ 22331 h 45614"/>
                <a:gd name="connsiteX6" fmla="*/ 22531 w 45614"/>
                <a:gd name="connsiteY6" fmla="*/ 45184 h 45614"/>
                <a:gd name="connsiteX7" fmla="*/ 45383 w 45614"/>
                <a:gd name="connsiteY7" fmla="*/ 22428 h 45614"/>
                <a:gd name="connsiteX8" fmla="*/ 45383 w 45614"/>
                <a:gd name="connsiteY8" fmla="*/ 22331 h 45614"/>
                <a:gd name="connsiteX9" fmla="*/ 23609 w 45614"/>
                <a:gd name="connsiteY9" fmla="*/ -425 h 45614"/>
                <a:gd name="connsiteX10" fmla="*/ 22628 w 45614"/>
                <a:gd name="connsiteY10" fmla="*/ -425 h 4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614" h="45614">
                  <a:moveTo>
                    <a:pt x="35825" y="35577"/>
                  </a:moveTo>
                  <a:lnTo>
                    <a:pt x="9382" y="35577"/>
                  </a:lnTo>
                  <a:lnTo>
                    <a:pt x="9382" y="9085"/>
                  </a:lnTo>
                  <a:lnTo>
                    <a:pt x="35825" y="9085"/>
                  </a:lnTo>
                  <a:close/>
                  <a:moveTo>
                    <a:pt x="22628" y="-425"/>
                  </a:moveTo>
                  <a:cubicBezTo>
                    <a:pt x="10033" y="-451"/>
                    <a:pt x="-198" y="9737"/>
                    <a:pt x="-225" y="22331"/>
                  </a:cubicBezTo>
                  <a:cubicBezTo>
                    <a:pt x="-252" y="34926"/>
                    <a:pt x="9936" y="45157"/>
                    <a:pt x="22531" y="45184"/>
                  </a:cubicBezTo>
                  <a:cubicBezTo>
                    <a:pt x="35125" y="45211"/>
                    <a:pt x="45357" y="35023"/>
                    <a:pt x="45383" y="22428"/>
                  </a:cubicBezTo>
                  <a:cubicBezTo>
                    <a:pt x="45383" y="22396"/>
                    <a:pt x="45383" y="22364"/>
                    <a:pt x="45383" y="22331"/>
                  </a:cubicBezTo>
                  <a:cubicBezTo>
                    <a:pt x="45654" y="10035"/>
                    <a:pt x="35906" y="-154"/>
                    <a:pt x="23609" y="-425"/>
                  </a:cubicBezTo>
                  <a:cubicBezTo>
                    <a:pt x="23282" y="-432"/>
                    <a:pt x="22955" y="-432"/>
                    <a:pt x="22628" y="-425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609AB2E-EE1C-4E2C-93C7-D22EF0230ADD}"/>
                </a:ext>
              </a:extLst>
            </p:cNvPr>
            <p:cNvSpPr/>
            <p:nvPr/>
          </p:nvSpPr>
          <p:spPr>
            <a:xfrm>
              <a:off x="484092" y="4930651"/>
              <a:ext cx="45754" cy="44793"/>
            </a:xfrm>
            <a:custGeom>
              <a:avLst/>
              <a:gdLst>
                <a:gd name="connsiteX0" fmla="*/ 35049 w 45754"/>
                <a:gd name="connsiteY0" fmla="*/ 17920 h 44793"/>
                <a:gd name="connsiteX1" fmla="*/ 10255 w 45754"/>
                <a:gd name="connsiteY1" fmla="*/ 17920 h 44793"/>
                <a:gd name="connsiteX2" fmla="*/ 10255 w 45754"/>
                <a:gd name="connsiteY2" fmla="*/ 9138 h 44793"/>
                <a:gd name="connsiteX3" fmla="*/ 35243 w 45754"/>
                <a:gd name="connsiteY3" fmla="*/ 9138 h 44793"/>
                <a:gd name="connsiteX4" fmla="*/ 22531 w 45754"/>
                <a:gd name="connsiteY4" fmla="*/ -421 h 44793"/>
                <a:gd name="connsiteX5" fmla="*/ -216 w 45754"/>
                <a:gd name="connsiteY5" fmla="*/ 21064 h 44793"/>
                <a:gd name="connsiteX6" fmla="*/ -225 w 45754"/>
                <a:gd name="connsiteY6" fmla="*/ 21607 h 44793"/>
                <a:gd name="connsiteX7" fmla="*/ 21803 w 45754"/>
                <a:gd name="connsiteY7" fmla="*/ 44363 h 44793"/>
                <a:gd name="connsiteX8" fmla="*/ 40920 w 45754"/>
                <a:gd name="connsiteY8" fmla="*/ 44363 h 44793"/>
                <a:gd name="connsiteX9" fmla="*/ 40920 w 45754"/>
                <a:gd name="connsiteY9" fmla="*/ 35581 h 44793"/>
                <a:gd name="connsiteX10" fmla="*/ 10255 w 45754"/>
                <a:gd name="connsiteY10" fmla="*/ 35581 h 44793"/>
                <a:gd name="connsiteX11" fmla="*/ 10255 w 45754"/>
                <a:gd name="connsiteY11" fmla="*/ 26750 h 44793"/>
                <a:gd name="connsiteX12" fmla="*/ 45529 w 45754"/>
                <a:gd name="connsiteY12" fmla="*/ 26750 h 44793"/>
                <a:gd name="connsiteX13" fmla="*/ 45529 w 45754"/>
                <a:gd name="connsiteY13" fmla="*/ 21607 h 44793"/>
                <a:gd name="connsiteX14" fmla="*/ 23219 w 45754"/>
                <a:gd name="connsiteY14" fmla="*/ -429 h 44793"/>
                <a:gd name="connsiteX15" fmla="*/ 22725 w 45754"/>
                <a:gd name="connsiteY15" fmla="*/ -421 h 4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54" h="44793">
                  <a:moveTo>
                    <a:pt x="35049" y="17920"/>
                  </a:moveTo>
                  <a:lnTo>
                    <a:pt x="10255" y="17920"/>
                  </a:lnTo>
                  <a:lnTo>
                    <a:pt x="10255" y="9138"/>
                  </a:lnTo>
                  <a:lnTo>
                    <a:pt x="35243" y="9138"/>
                  </a:lnTo>
                  <a:close/>
                  <a:moveTo>
                    <a:pt x="22531" y="-421"/>
                  </a:moveTo>
                  <a:cubicBezTo>
                    <a:pt x="10316" y="-769"/>
                    <a:pt x="132" y="8850"/>
                    <a:pt x="-216" y="21064"/>
                  </a:cubicBezTo>
                  <a:cubicBezTo>
                    <a:pt x="-222" y="21245"/>
                    <a:pt x="-225" y="21426"/>
                    <a:pt x="-225" y="21607"/>
                  </a:cubicBezTo>
                  <a:cubicBezTo>
                    <a:pt x="-231" y="33896"/>
                    <a:pt x="9520" y="43970"/>
                    <a:pt x="21803" y="44363"/>
                  </a:cubicBezTo>
                  <a:lnTo>
                    <a:pt x="40920" y="44363"/>
                  </a:lnTo>
                  <a:lnTo>
                    <a:pt x="40920" y="35581"/>
                  </a:lnTo>
                  <a:lnTo>
                    <a:pt x="10255" y="35581"/>
                  </a:lnTo>
                  <a:lnTo>
                    <a:pt x="10255" y="26750"/>
                  </a:lnTo>
                  <a:lnTo>
                    <a:pt x="45529" y="26750"/>
                  </a:lnTo>
                  <a:lnTo>
                    <a:pt x="45529" y="21607"/>
                  </a:lnTo>
                  <a:cubicBezTo>
                    <a:pt x="45454" y="9361"/>
                    <a:pt x="35465" y="-505"/>
                    <a:pt x="23219" y="-429"/>
                  </a:cubicBezTo>
                  <a:cubicBezTo>
                    <a:pt x="23054" y="-428"/>
                    <a:pt x="22889" y="-426"/>
                    <a:pt x="22725" y="-421"/>
                  </a:cubicBezTo>
                </a:path>
              </a:pathLst>
            </a:custGeom>
            <a:grpFill/>
            <a:ln w="48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xxLanguageTextBox">
            <a:extLst>
              <a:ext uri="{FF2B5EF4-FFF2-40B4-BE49-F238E27FC236}">
                <a16:creationId xmlns:a16="http://schemas.microsoft.com/office/drawing/2014/main" id="{58F81A98-8A90-4939-8305-1BD77D15340D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136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  <p:sldLayoutId id="2147483938" r:id="rId12"/>
    <p:sldLayoutId id="2147483939" r:id="rId13"/>
    <p:sldLayoutId id="2147483940" r:id="rId14"/>
    <p:sldLayoutId id="2147483941" r:id="rId15"/>
    <p:sldLayoutId id="2147483942" r:id="rId16"/>
    <p:sldLayoutId id="2147483943" r:id="rId17"/>
    <p:sldLayoutId id="2147483944" r:id="rId18"/>
    <p:sldLayoutId id="2147483945" r:id="rId19"/>
    <p:sldLayoutId id="2147483946" r:id="rId20"/>
    <p:sldLayoutId id="2147483947" r:id="rId21"/>
    <p:sldLayoutId id="2147483948" r:id="rId22"/>
    <p:sldLayoutId id="2147483949" r:id="rId23"/>
    <p:sldLayoutId id="2147483950" r:id="rId24"/>
    <p:sldLayoutId id="2147483951" r:id="rId25"/>
    <p:sldLayoutId id="2147483952" r:id="rId26"/>
    <p:sldLayoutId id="2147483953" r:id="rId27"/>
    <p:sldLayoutId id="2147483954" r:id="rId28"/>
    <p:sldLayoutId id="2147483955" r:id="rId29"/>
    <p:sldLayoutId id="2147483956" r:id="rId30"/>
    <p:sldLayoutId id="2147483957" r:id="rId31"/>
    <p:sldLayoutId id="2147483958" r:id="rId32"/>
    <p:sldLayoutId id="2147483959" r:id="rId33"/>
    <p:sldLayoutId id="2147483960" r:id="rId34"/>
    <p:sldLayoutId id="2147483961" r:id="rId35"/>
    <p:sldLayoutId id="2147483962" r:id="rId36"/>
    <p:sldLayoutId id="2147483963" r:id="rId37"/>
    <p:sldLayoutId id="2147483964" r:id="rId38"/>
    <p:sldLayoutId id="2147483965" r:id="rId39"/>
    <p:sldLayoutId id="2147483966" r:id="rId40"/>
    <p:sldLayoutId id="2147483967" r:id="rId41"/>
    <p:sldLayoutId id="2147483968" r:id="rId42"/>
    <p:sldLayoutId id="2147483969" r:id="rId43"/>
    <p:sldLayoutId id="2147483970" r:id="rId44"/>
    <p:sldLayoutId id="2147483971" r:id="rId45"/>
    <p:sldLayoutId id="2147483972" r:id="rId46"/>
    <p:sldLayoutId id="2147483973" r:id="rId47"/>
    <p:sldLayoutId id="2147483974" r:id="rId48"/>
    <p:sldLayoutId id="2147483975" r:id="rId49"/>
    <p:sldLayoutId id="2147483976" r:id="rId50"/>
    <p:sldLayoutId id="2147483977" r:id="rId51"/>
    <p:sldLayoutId id="2147483978" r:id="rId52"/>
    <p:sldLayoutId id="2147483979" r:id="rId53"/>
    <p:sldLayoutId id="2147483980" r:id="rId54"/>
    <p:sldLayoutId id="2147483981" r:id="rId55"/>
    <p:sldLayoutId id="2147483982" r:id="rId56"/>
    <p:sldLayoutId id="2147483983" r:id="rId57"/>
    <p:sldLayoutId id="2147483984" r:id="rId58"/>
    <p:sldLayoutId id="2147483985" r:id="rId59"/>
    <p:sldLayoutId id="2147483986" r:id="rId60"/>
    <p:sldLayoutId id="2147483987" r:id="rId61"/>
    <p:sldLayoutId id="2147483988" r:id="rId62"/>
    <p:sldLayoutId id="2147483989" r:id="rId63"/>
    <p:sldLayoutId id="2147483990" r:id="rId64"/>
    <p:sldLayoutId id="2147483991" r:id="rId65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79388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9388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579">
          <p15:clr>
            <a:srgbClr val="F26B43"/>
          </p15:clr>
        </p15:guide>
        <p15:guide id="2" orient="horz" pos="146">
          <p15:clr>
            <a:srgbClr val="F26B43"/>
          </p15:clr>
        </p15:guide>
        <p15:guide id="3" pos="181">
          <p15:clr>
            <a:srgbClr val="F26B43"/>
          </p15:clr>
        </p15:guide>
        <p15:guide id="4" orient="horz" pos="872">
          <p15:clr>
            <a:srgbClr val="F26B43"/>
          </p15:clr>
        </p15:guide>
        <p15:guide id="5" orient="horz" pos="2913">
          <p15:clr>
            <a:srgbClr val="F26B43"/>
          </p15:clr>
        </p15:guide>
        <p15:guide id="7" orient="horz" pos="7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1.xml"/><Relationship Id="rId4" Type="http://schemas.openxmlformats.org/officeDocument/2006/relationships/image" Target="../media/image36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4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42.png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8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43.png"/><Relationship Id="rId9" Type="http://schemas.microsoft.com/office/2007/relationships/diagramDrawing" Target="../diagrams/drawing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image" Target="../media/image42.png"/><Relationship Id="rId7" Type="http://schemas.openxmlformats.org/officeDocument/2006/relationships/diagramQuickStyle" Target="../diagrams/quickStyle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8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43.png"/><Relationship Id="rId9" Type="http://schemas.microsoft.com/office/2007/relationships/diagramDrawing" Target="../diagrams/drawing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image" Target="../media/image42.png"/><Relationship Id="rId7" Type="http://schemas.openxmlformats.org/officeDocument/2006/relationships/diagramQuickStyle" Target="../diagrams/quickStyle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8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4" Type="http://schemas.openxmlformats.org/officeDocument/2006/relationships/image" Target="../media/image43.png"/><Relationship Id="rId9" Type="http://schemas.microsoft.com/office/2007/relationships/diagramDrawing" Target="../diagrams/drawing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image" Target="../media/image42.png"/><Relationship Id="rId7" Type="http://schemas.openxmlformats.org/officeDocument/2006/relationships/diagramQuickStyle" Target="../diagrams/quickStyle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8.xml"/><Relationship Id="rId6" Type="http://schemas.openxmlformats.org/officeDocument/2006/relationships/diagramLayout" Target="../diagrams/layout4.xml"/><Relationship Id="rId5" Type="http://schemas.openxmlformats.org/officeDocument/2006/relationships/diagramData" Target="../diagrams/data4.xml"/><Relationship Id="rId4" Type="http://schemas.openxmlformats.org/officeDocument/2006/relationships/image" Target="../media/image43.png"/><Relationship Id="rId9" Type="http://schemas.microsoft.com/office/2007/relationships/diagramDrawing" Target="../diagrams/drawing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4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4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4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4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4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7.xml"/><Relationship Id="rId4" Type="http://schemas.openxmlformats.org/officeDocument/2006/relationships/image" Target="../media/image38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4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40.xml"/><Relationship Id="rId4" Type="http://schemas.openxmlformats.org/officeDocument/2006/relationships/image" Target="../media/image5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40.xml"/><Relationship Id="rId4" Type="http://schemas.openxmlformats.org/officeDocument/2006/relationships/image" Target="../media/image58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customXml" Target="../../customXml/item7.xml"/><Relationship Id="rId1" Type="http://schemas.openxmlformats.org/officeDocument/2006/relationships/customXml" Target="../../customXml/item6.xml"/><Relationship Id="rId4" Type="http://schemas.openxmlformats.org/officeDocument/2006/relationships/notesSlide" Target="../notesSlides/notesSlide1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0.xml"/><Relationship Id="rId6" Type="http://schemas.openxmlformats.org/officeDocument/2006/relationships/image" Target="../media/image62.jpeg"/><Relationship Id="rId5" Type="http://schemas.openxmlformats.org/officeDocument/2006/relationships/image" Target="../media/image61.jpeg"/><Relationship Id="rId4" Type="http://schemas.openxmlformats.org/officeDocument/2006/relationships/image" Target="../media/image6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5.xml"/><Relationship Id="rId4" Type="http://schemas.openxmlformats.org/officeDocument/2006/relationships/image" Target="../media/image4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5.xml"/><Relationship Id="rId4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subTitle" idx="1"/>
          </p:nvPr>
        </p:nvSpPr>
        <p:spPr>
          <a:xfrm>
            <a:off x="514350" y="1056435"/>
            <a:ext cx="4104000" cy="2206718"/>
          </a:xfrm>
        </p:spPr>
        <p:txBody>
          <a:bodyPr>
            <a:normAutofit/>
          </a:bodyPr>
          <a:lstStyle/>
          <a:p>
            <a:pPr lvl="0"/>
            <a:r>
              <a:rPr lang="nb-NO" sz="2400"/>
              <a:t>Generative KI </a:t>
            </a:r>
            <a:br>
              <a:rPr lang="nb-NO" sz="2400"/>
            </a:br>
            <a:r>
              <a:rPr lang="nb-NO" sz="2400"/>
              <a:t>som standard produkt </a:t>
            </a:r>
            <a:br>
              <a:rPr lang="nb-NO" sz="2400"/>
            </a:br>
            <a:r>
              <a:rPr lang="nb-NO" sz="2400"/>
              <a:t>for offentlig sektor</a:t>
            </a:r>
          </a:p>
          <a:p>
            <a:pPr lvl="0"/>
            <a:endParaRPr lang="nb-NO" sz="2400" noProof="0" dirty="0"/>
          </a:p>
          <a:p>
            <a:pPr lvl="0"/>
            <a:r>
              <a:rPr lang="nb-NO" sz="1800" dirty="0"/>
              <a:t>Muligheter | Utfordringer | Løsninger</a:t>
            </a:r>
            <a:endParaRPr lang="nb-NO" sz="1800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0ADC22-7993-468B-8971-CF14AE5031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Eivind Nilssen &amp; Sebastian Reichmann</a:t>
            </a:r>
            <a:br>
              <a:rPr lang="en-US" dirty="0"/>
            </a:br>
            <a:r>
              <a:rPr lang="en-US" dirty="0"/>
              <a:t>Tietoevry Public 360°</a:t>
            </a:r>
            <a:endParaRPr lang="en-US" noProof="0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B9A71BEF-3E18-4287-B4B2-D029E64BE6F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4889500"/>
            <a:ext cx="514350" cy="128588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Tietoevry Sans 1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FA64C8C5-3544-45A8-B2D2-84BDC695329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828088" y="4889500"/>
            <a:ext cx="315912" cy="128588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61E25E67-CBB9-434B-BBF7-0A5E970272B8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Tietoevry Sans 1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BEBEBE"/>
              </a:solidFill>
              <a:effectLst/>
              <a:uLnTx/>
              <a:uFillTx/>
              <a:latin typeface="Tietoevry Sans 1"/>
              <a:ea typeface="+mn-ea"/>
              <a:cs typeface="+mn-cs"/>
            </a:endParaRPr>
          </a:p>
        </p:txBody>
      </p:sp>
      <p:pic>
        <p:nvPicPr>
          <p:cNvPr id="11" name="Picture Placeholder 10" descr="A person standing on a stage&#10;&#10;Description automatically generated">
            <a:extLst>
              <a:ext uri="{FF2B5EF4-FFF2-40B4-BE49-F238E27FC236}">
                <a16:creationId xmlns:a16="http://schemas.microsoft.com/office/drawing/2014/main" id="{17FA2D02-A7D6-0655-B318-E13448385E4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26002" r="26002"/>
          <a:stretch/>
        </p:blipFill>
        <p:spPr/>
      </p:pic>
      <p:pic>
        <p:nvPicPr>
          <p:cNvPr id="3" name="Picture 4" descr="The Dawn of Generative AI: Why and How to Adopt it for your Business |  CaseReads">
            <a:extLst>
              <a:ext uri="{FF2B5EF4-FFF2-40B4-BE49-F238E27FC236}">
                <a16:creationId xmlns:a16="http://schemas.microsoft.com/office/drawing/2014/main" id="{3B416626-3833-3E81-775A-969E837E73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578"/>
          <a:stretch/>
        </p:blipFill>
        <p:spPr bwMode="auto">
          <a:xfrm>
            <a:off x="5435739" y="2143624"/>
            <a:ext cx="3709374" cy="2999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06795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C4AE93-EC1E-9238-5F08-F1C4176787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>
            <a:extLst>
              <a:ext uri="{FF2B5EF4-FFF2-40B4-BE49-F238E27FC236}">
                <a16:creationId xmlns:a16="http://schemas.microsoft.com/office/drawing/2014/main" id="{0F145B87-3386-C566-7098-50EA134FC2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Shape 0">
            <a:extLst>
              <a:ext uri="{FF2B5EF4-FFF2-40B4-BE49-F238E27FC236}">
                <a16:creationId xmlns:a16="http://schemas.microsoft.com/office/drawing/2014/main" id="{F8FCF7D6-C812-6FF2-18E9-80BF6E27DA02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FFFF">
              <a:alpha val="75000"/>
            </a:srgbClr>
          </a:solidFill>
          <a:ln w="13811">
            <a:solidFill>
              <a:srgbClr val="FFFFFF">
                <a:alpha val="64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5715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2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Image 1" descr="preencoded.png">
            <a:extLst>
              <a:ext uri="{FF2B5EF4-FFF2-40B4-BE49-F238E27FC236}">
                <a16:creationId xmlns:a16="http://schemas.microsoft.com/office/drawing/2014/main" id="{BDFC0C96-C494-6C16-B8BC-953B159027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8000" y="0"/>
            <a:ext cx="2286000" cy="5143500"/>
          </a:xfrm>
          <a:prstGeom prst="rect">
            <a:avLst/>
          </a:prstGeom>
        </p:spPr>
      </p:pic>
      <p:sp>
        <p:nvSpPr>
          <p:cNvPr id="5" name="Text 1">
            <a:extLst>
              <a:ext uri="{FF2B5EF4-FFF2-40B4-BE49-F238E27FC236}">
                <a16:creationId xmlns:a16="http://schemas.microsoft.com/office/drawing/2014/main" id="{CE3DF243-3228-DA7A-87DE-2C0A9D9F184A}"/>
              </a:ext>
            </a:extLst>
          </p:cNvPr>
          <p:cNvSpPr/>
          <p:nvPr/>
        </p:nvSpPr>
        <p:spPr>
          <a:xfrm>
            <a:off x="289444" y="146159"/>
            <a:ext cx="5525064" cy="1301949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lvl="0" defTabSz="571500">
              <a:lnSpc>
                <a:spcPts val="3417"/>
              </a:lnSpc>
              <a:defRPr/>
            </a:pP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Utfordringer</a:t>
            </a:r>
            <a:r>
              <a:rPr lang="en-US" sz="2734" b="1" dirty="0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 med å </a:t>
            </a: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levere</a:t>
            </a:r>
            <a:r>
              <a:rPr lang="en-US" sz="2734" b="1" dirty="0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 </a:t>
            </a: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generativ</a:t>
            </a:r>
            <a:r>
              <a:rPr lang="en-US" sz="2734" b="1" dirty="0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 KI </a:t>
            </a: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som</a:t>
            </a:r>
            <a:r>
              <a:rPr lang="en-US" sz="2734" b="1" dirty="0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 del av </a:t>
            </a: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standardløsninger</a:t>
            </a:r>
            <a:endParaRPr kumimoji="0" lang="en-US" sz="273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58455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D707E3-4BEB-1BE3-C4C1-94B5494665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>
            <a:extLst>
              <a:ext uri="{FF2B5EF4-FFF2-40B4-BE49-F238E27FC236}">
                <a16:creationId xmlns:a16="http://schemas.microsoft.com/office/drawing/2014/main" id="{0A8C98D2-4FFB-5D29-7ED9-09BE81D77E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Shape 0">
            <a:extLst>
              <a:ext uri="{FF2B5EF4-FFF2-40B4-BE49-F238E27FC236}">
                <a16:creationId xmlns:a16="http://schemas.microsoft.com/office/drawing/2014/main" id="{B8C24B20-77AD-7839-14A1-EC00DF0D8A1C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FFFF">
              <a:alpha val="75000"/>
            </a:srgbClr>
          </a:solidFill>
          <a:ln w="13811">
            <a:solidFill>
              <a:srgbClr val="FFFFFF">
                <a:alpha val="64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5715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2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Image 1" descr="preencoded.png">
            <a:extLst>
              <a:ext uri="{FF2B5EF4-FFF2-40B4-BE49-F238E27FC236}">
                <a16:creationId xmlns:a16="http://schemas.microsoft.com/office/drawing/2014/main" id="{494E608D-BA37-0D72-CDA1-81D23564CA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8000" y="0"/>
            <a:ext cx="2286000" cy="5143500"/>
          </a:xfrm>
          <a:prstGeom prst="rect">
            <a:avLst/>
          </a:prstGeom>
        </p:spPr>
      </p:pic>
      <p:sp>
        <p:nvSpPr>
          <p:cNvPr id="5" name="Text 1">
            <a:extLst>
              <a:ext uri="{FF2B5EF4-FFF2-40B4-BE49-F238E27FC236}">
                <a16:creationId xmlns:a16="http://schemas.microsoft.com/office/drawing/2014/main" id="{1B416462-BAD9-8DCD-0B61-93C89EED46E9}"/>
              </a:ext>
            </a:extLst>
          </p:cNvPr>
          <p:cNvSpPr/>
          <p:nvPr/>
        </p:nvSpPr>
        <p:spPr>
          <a:xfrm>
            <a:off x="289444" y="146159"/>
            <a:ext cx="5525064" cy="1301949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lvl="0" defTabSz="571500">
              <a:lnSpc>
                <a:spcPts val="3417"/>
              </a:lnSpc>
              <a:defRPr/>
            </a:pP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Utfordringer</a:t>
            </a:r>
            <a:r>
              <a:rPr lang="en-US" sz="2734" b="1" dirty="0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 med å </a:t>
            </a: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levere</a:t>
            </a:r>
            <a:r>
              <a:rPr lang="en-US" sz="2734" b="1" dirty="0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 </a:t>
            </a: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generativ</a:t>
            </a:r>
            <a:r>
              <a:rPr lang="en-US" sz="2734" b="1" dirty="0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 KI </a:t>
            </a: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som</a:t>
            </a:r>
            <a:r>
              <a:rPr lang="en-US" sz="2734" b="1" dirty="0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 del av </a:t>
            </a: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standardløsninger</a:t>
            </a:r>
            <a:endParaRPr kumimoji="0" lang="en-US" sz="273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19" name="Diagram 18">
            <a:extLst>
              <a:ext uri="{FF2B5EF4-FFF2-40B4-BE49-F238E27FC236}">
                <a16:creationId xmlns:a16="http://schemas.microsoft.com/office/drawing/2014/main" id="{63D91EB1-2594-1F1D-5DEC-D047002F84FA}"/>
              </a:ext>
            </a:extLst>
          </p:cNvPr>
          <p:cNvGraphicFramePr/>
          <p:nvPr/>
        </p:nvGraphicFramePr>
        <p:xfrm>
          <a:off x="578887" y="1264768"/>
          <a:ext cx="6154139" cy="38176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202AD9DB-3921-513F-92A0-07FBBA333B8A}"/>
              </a:ext>
            </a:extLst>
          </p:cNvPr>
          <p:cNvSpPr/>
          <p:nvPr/>
        </p:nvSpPr>
        <p:spPr>
          <a:xfrm>
            <a:off x="0" y="2199939"/>
            <a:ext cx="6858001" cy="2943561"/>
          </a:xfrm>
          <a:prstGeom prst="rect">
            <a:avLst/>
          </a:prstGeom>
          <a:solidFill>
            <a:srgbClr val="DDE9F0"/>
          </a:solidFill>
          <a:ln>
            <a:solidFill>
              <a:srgbClr val="DDE9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5860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Shape 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FFFF">
              <a:alpha val="75000"/>
            </a:srgbClr>
          </a:solidFill>
          <a:ln w="13811">
            <a:solidFill>
              <a:srgbClr val="FFFFFF">
                <a:alpha val="64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5715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2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Image 1" descr="preencoded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8000" y="0"/>
            <a:ext cx="2286000" cy="5143500"/>
          </a:xfrm>
          <a:prstGeom prst="rect">
            <a:avLst/>
          </a:prstGeom>
        </p:spPr>
      </p:pic>
      <p:sp>
        <p:nvSpPr>
          <p:cNvPr id="5" name="Text 1"/>
          <p:cNvSpPr/>
          <p:nvPr/>
        </p:nvSpPr>
        <p:spPr>
          <a:xfrm>
            <a:off x="289444" y="146159"/>
            <a:ext cx="5525064" cy="1301949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lvl="0" defTabSz="571500">
              <a:lnSpc>
                <a:spcPts val="3417"/>
              </a:lnSpc>
              <a:defRPr/>
            </a:pP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Utfordringer</a:t>
            </a:r>
            <a:r>
              <a:rPr lang="en-US" sz="2734" b="1" dirty="0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 med å </a:t>
            </a: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levere</a:t>
            </a:r>
            <a:r>
              <a:rPr lang="en-US" sz="2734" b="1" dirty="0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 </a:t>
            </a: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generativ</a:t>
            </a:r>
            <a:r>
              <a:rPr lang="en-US" sz="2734" b="1" dirty="0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 KI </a:t>
            </a: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som</a:t>
            </a:r>
            <a:r>
              <a:rPr lang="en-US" sz="2734" b="1" dirty="0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 del av </a:t>
            </a: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standardløsninger</a:t>
            </a:r>
            <a:endParaRPr kumimoji="0" lang="en-US" sz="273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19" name="Diagram 18">
            <a:extLst>
              <a:ext uri="{FF2B5EF4-FFF2-40B4-BE49-F238E27FC236}">
                <a16:creationId xmlns:a16="http://schemas.microsoft.com/office/drawing/2014/main" id="{57DE61A0-F31B-8B16-A447-2942726757B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017058"/>
              </p:ext>
            </p:extLst>
          </p:nvPr>
        </p:nvGraphicFramePr>
        <p:xfrm>
          <a:off x="578887" y="1264768"/>
          <a:ext cx="6154139" cy="38176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5DA784D-05C2-1895-A6A1-59B4AF58DA6A}"/>
              </a:ext>
            </a:extLst>
          </p:cNvPr>
          <p:cNvSpPr/>
          <p:nvPr/>
        </p:nvSpPr>
        <p:spPr>
          <a:xfrm>
            <a:off x="0" y="3162748"/>
            <a:ext cx="6858001" cy="1980752"/>
          </a:xfrm>
          <a:prstGeom prst="rect">
            <a:avLst/>
          </a:prstGeom>
          <a:solidFill>
            <a:srgbClr val="DDE9F0"/>
          </a:solidFill>
          <a:ln>
            <a:solidFill>
              <a:srgbClr val="DDE9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86508E-9BD9-D039-59A4-9D49288A1D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>
            <a:extLst>
              <a:ext uri="{FF2B5EF4-FFF2-40B4-BE49-F238E27FC236}">
                <a16:creationId xmlns:a16="http://schemas.microsoft.com/office/drawing/2014/main" id="{71D7DE84-D441-21AD-3A4A-6BC073C76E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Shape 0">
            <a:extLst>
              <a:ext uri="{FF2B5EF4-FFF2-40B4-BE49-F238E27FC236}">
                <a16:creationId xmlns:a16="http://schemas.microsoft.com/office/drawing/2014/main" id="{F4A6E50A-7BE6-29E3-13B7-4A0AB1A7FFF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FFFF">
              <a:alpha val="75000"/>
            </a:srgbClr>
          </a:solidFill>
          <a:ln w="13811">
            <a:solidFill>
              <a:srgbClr val="FFFFFF">
                <a:alpha val="64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5715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2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Image 1" descr="preencoded.png">
            <a:extLst>
              <a:ext uri="{FF2B5EF4-FFF2-40B4-BE49-F238E27FC236}">
                <a16:creationId xmlns:a16="http://schemas.microsoft.com/office/drawing/2014/main" id="{09780777-CDC3-7EDF-6253-7D89D5AC22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8000" y="0"/>
            <a:ext cx="2286000" cy="5143500"/>
          </a:xfrm>
          <a:prstGeom prst="rect">
            <a:avLst/>
          </a:prstGeom>
        </p:spPr>
      </p:pic>
      <p:sp>
        <p:nvSpPr>
          <p:cNvPr id="5" name="Text 1">
            <a:extLst>
              <a:ext uri="{FF2B5EF4-FFF2-40B4-BE49-F238E27FC236}">
                <a16:creationId xmlns:a16="http://schemas.microsoft.com/office/drawing/2014/main" id="{376536D4-6310-8AFF-F130-5FC30B44AE7D}"/>
              </a:ext>
            </a:extLst>
          </p:cNvPr>
          <p:cNvSpPr/>
          <p:nvPr/>
        </p:nvSpPr>
        <p:spPr>
          <a:xfrm>
            <a:off x="289444" y="146159"/>
            <a:ext cx="5578852" cy="1301949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lvl="0" defTabSz="571500">
              <a:lnSpc>
                <a:spcPts val="3417"/>
              </a:lnSpc>
              <a:defRPr/>
            </a:pP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Utfordringer</a:t>
            </a:r>
            <a:r>
              <a:rPr lang="en-US" sz="2734" b="1" dirty="0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 for å </a:t>
            </a: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levere</a:t>
            </a:r>
            <a:r>
              <a:rPr lang="en-US" sz="2734" b="1" dirty="0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 </a:t>
            </a: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generativ</a:t>
            </a:r>
            <a:r>
              <a:rPr lang="en-US" sz="2734" b="1" dirty="0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 KI </a:t>
            </a: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som</a:t>
            </a:r>
            <a:r>
              <a:rPr lang="en-US" sz="2734" b="1" dirty="0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 del av </a:t>
            </a: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standardløsninger</a:t>
            </a:r>
            <a:endParaRPr kumimoji="0" lang="en-US" sz="273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19" name="Diagram 18">
            <a:extLst>
              <a:ext uri="{FF2B5EF4-FFF2-40B4-BE49-F238E27FC236}">
                <a16:creationId xmlns:a16="http://schemas.microsoft.com/office/drawing/2014/main" id="{41D2C18B-1E33-2153-944D-035726BE44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58666719"/>
              </p:ext>
            </p:extLst>
          </p:nvPr>
        </p:nvGraphicFramePr>
        <p:xfrm>
          <a:off x="578887" y="1264768"/>
          <a:ext cx="6154139" cy="38176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66750B7A-EFD5-D451-40AA-E44824B6F1BB}"/>
              </a:ext>
            </a:extLst>
          </p:cNvPr>
          <p:cNvSpPr/>
          <p:nvPr/>
        </p:nvSpPr>
        <p:spPr>
          <a:xfrm>
            <a:off x="0" y="4114800"/>
            <a:ext cx="6858001" cy="1028700"/>
          </a:xfrm>
          <a:prstGeom prst="rect">
            <a:avLst/>
          </a:prstGeom>
          <a:solidFill>
            <a:srgbClr val="DDE9F0"/>
          </a:solidFill>
          <a:ln>
            <a:solidFill>
              <a:srgbClr val="DDE9F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94696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B21D56-B753-DA6B-8E5C-5FC54E2934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>
            <a:extLst>
              <a:ext uri="{FF2B5EF4-FFF2-40B4-BE49-F238E27FC236}">
                <a16:creationId xmlns:a16="http://schemas.microsoft.com/office/drawing/2014/main" id="{DCD0C28C-09A3-8ADF-E1AD-28E98738EB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Shape 0">
            <a:extLst>
              <a:ext uri="{FF2B5EF4-FFF2-40B4-BE49-F238E27FC236}">
                <a16:creationId xmlns:a16="http://schemas.microsoft.com/office/drawing/2014/main" id="{C7C0E316-9D46-6636-92A4-3A3AADA1C39D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FFFF">
              <a:alpha val="75000"/>
            </a:srgbClr>
          </a:solidFill>
          <a:ln w="13811">
            <a:solidFill>
              <a:srgbClr val="FFFFFF">
                <a:alpha val="64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5715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2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Image 1" descr="preencoded.png">
            <a:extLst>
              <a:ext uri="{FF2B5EF4-FFF2-40B4-BE49-F238E27FC236}">
                <a16:creationId xmlns:a16="http://schemas.microsoft.com/office/drawing/2014/main" id="{3C035082-DFE8-34E9-D097-238B52825B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8000" y="0"/>
            <a:ext cx="2286000" cy="5143500"/>
          </a:xfrm>
          <a:prstGeom prst="rect">
            <a:avLst/>
          </a:prstGeom>
        </p:spPr>
      </p:pic>
      <p:sp>
        <p:nvSpPr>
          <p:cNvPr id="5" name="Text 1">
            <a:extLst>
              <a:ext uri="{FF2B5EF4-FFF2-40B4-BE49-F238E27FC236}">
                <a16:creationId xmlns:a16="http://schemas.microsoft.com/office/drawing/2014/main" id="{23E0BC04-5058-B561-2287-3362E90DAD29}"/>
              </a:ext>
            </a:extLst>
          </p:cNvPr>
          <p:cNvSpPr/>
          <p:nvPr/>
        </p:nvSpPr>
        <p:spPr>
          <a:xfrm>
            <a:off x="289444" y="146159"/>
            <a:ext cx="5562716" cy="1301949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lvl="0" defTabSz="571500">
              <a:lnSpc>
                <a:spcPts val="3417"/>
              </a:lnSpc>
              <a:defRPr/>
            </a:pP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Utfordringer</a:t>
            </a:r>
            <a:r>
              <a:rPr lang="en-US" sz="2734" b="1" dirty="0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 for å </a:t>
            </a: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levere</a:t>
            </a:r>
            <a:r>
              <a:rPr lang="en-US" sz="2734" b="1" dirty="0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 </a:t>
            </a: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generativ</a:t>
            </a:r>
            <a:r>
              <a:rPr lang="en-US" sz="2734" b="1" dirty="0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 KI </a:t>
            </a: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som</a:t>
            </a:r>
            <a:r>
              <a:rPr lang="en-US" sz="2734" b="1" dirty="0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 del av </a:t>
            </a:r>
            <a:r>
              <a:rPr lang="en-US" sz="2734" b="1" dirty="0" err="1">
                <a:solidFill>
                  <a:srgbClr val="000000"/>
                </a:solidFill>
                <a:ea typeface="p22-mackinac-pro" pitchFamily="34" charset="-122"/>
                <a:cs typeface="p22-mackinac-pro" pitchFamily="34" charset="-120"/>
              </a:rPr>
              <a:t>standardløsninger</a:t>
            </a:r>
            <a:endParaRPr kumimoji="0" lang="en-US" sz="273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19" name="Diagram 18">
            <a:extLst>
              <a:ext uri="{FF2B5EF4-FFF2-40B4-BE49-F238E27FC236}">
                <a16:creationId xmlns:a16="http://schemas.microsoft.com/office/drawing/2014/main" id="{5DD38D01-5E75-9AA3-AEDD-9A2222D16FF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5037002"/>
              </p:ext>
            </p:extLst>
          </p:nvPr>
        </p:nvGraphicFramePr>
        <p:xfrm>
          <a:off x="578887" y="1264768"/>
          <a:ext cx="6154139" cy="38176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25364017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B297D30-E8EA-8DB1-F84E-69BF6E72D0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3A8349-49A5-7FCE-000D-BA7FDF11E69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pPr/>
              <a:t>15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A2ECC4A-84B2-F0D0-C02E-BB73E59129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1695" y="962237"/>
            <a:ext cx="7380610" cy="381414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981E670-7C61-C8F8-CE8D-7937A71FB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9" y="231775"/>
            <a:ext cx="8569325" cy="1008063"/>
          </a:xfrm>
        </p:spPr>
        <p:txBody>
          <a:bodyPr/>
          <a:lstStyle/>
          <a:p>
            <a:r>
              <a:rPr lang="en-US"/>
              <a:t>public 360</a:t>
            </a:r>
          </a:p>
        </p:txBody>
      </p:sp>
    </p:spTree>
    <p:extLst>
      <p:ext uri="{BB962C8B-B14F-4D97-AF65-F5344CB8AC3E}">
        <p14:creationId xmlns:p14="http://schemas.microsoft.com/office/powerpoint/2010/main" val="14656334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EE3261-1B33-0AE4-F2C8-BE0022D1587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D5FCA7-F5B7-3D5C-3126-D9021D6C34C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pPr/>
              <a:t>16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11CF0D1-B69F-67A6-56EF-362B501491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5505" y="958347"/>
            <a:ext cx="7372989" cy="3840813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522C92F6-3700-A01E-3DC1-99DC91ADE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9" y="231775"/>
            <a:ext cx="8569325" cy="1008063"/>
          </a:xfrm>
        </p:spPr>
        <p:txBody>
          <a:bodyPr/>
          <a:lstStyle/>
          <a:p>
            <a:r>
              <a:rPr lang="en-US"/>
              <a:t>public 360</a:t>
            </a:r>
          </a:p>
        </p:txBody>
      </p:sp>
    </p:spTree>
    <p:extLst>
      <p:ext uri="{BB962C8B-B14F-4D97-AF65-F5344CB8AC3E}">
        <p14:creationId xmlns:p14="http://schemas.microsoft.com/office/powerpoint/2010/main" val="41914967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B07425-E088-68DE-7A86-DEC00E36D8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CA58D4-2A8F-7DD0-E21E-9F9D09FEC2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LM RAG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CADA20-1CEB-911A-D61F-762CB799157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848861-48F9-D7EA-92FE-A50ABDEA57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pPr/>
              <a:t>17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5B84159-69F6-0606-8CF0-1B8B586A02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8664" y="1043807"/>
            <a:ext cx="4526672" cy="3055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8842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64ABA9-AF5E-896E-812F-F5912297BC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8B8F6F-60BA-A941-A06A-3BFA6A96EB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ontekst-chunks i RAG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86D272-A308-1536-76C9-D9C070335D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BF14C5-7084-A116-AE40-6EF66D1D1E1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pPr/>
              <a:t>18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6A5B48D-85C8-970F-73EE-2326EB50BD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339" y="1407983"/>
            <a:ext cx="3109229" cy="34140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5090F15-0D98-446B-04F6-0BBEF5BF24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9752" y="1407983"/>
            <a:ext cx="3109229" cy="3414056"/>
          </a:xfrm>
          <a:prstGeom prst="rect">
            <a:avLst/>
          </a:prstGeom>
        </p:spPr>
      </p:pic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61175243-F917-F9DA-1B8D-7B88CD72C500}"/>
              </a:ext>
            </a:extLst>
          </p:cNvPr>
          <p:cNvSpPr/>
          <p:nvPr/>
        </p:nvSpPr>
        <p:spPr>
          <a:xfrm>
            <a:off x="231289" y="1371600"/>
            <a:ext cx="3190091" cy="645459"/>
          </a:xfrm>
          <a:custGeom>
            <a:avLst/>
            <a:gdLst>
              <a:gd name="connsiteX0" fmla="*/ 43031 w 3190091"/>
              <a:gd name="connsiteY0" fmla="*/ 21515 h 645459"/>
              <a:gd name="connsiteX1" fmla="*/ 43031 w 3190091"/>
              <a:gd name="connsiteY1" fmla="*/ 21515 h 645459"/>
              <a:gd name="connsiteX2" fmla="*/ 1430767 w 3190091"/>
              <a:gd name="connsiteY2" fmla="*/ 21515 h 645459"/>
              <a:gd name="connsiteX3" fmla="*/ 1468419 w 3190091"/>
              <a:gd name="connsiteY3" fmla="*/ 26894 h 645459"/>
              <a:gd name="connsiteX4" fmla="*/ 1549102 w 3190091"/>
              <a:gd name="connsiteY4" fmla="*/ 32273 h 645459"/>
              <a:gd name="connsiteX5" fmla="*/ 1861073 w 3190091"/>
              <a:gd name="connsiteY5" fmla="*/ 21515 h 645459"/>
              <a:gd name="connsiteX6" fmla="*/ 1936377 w 3190091"/>
              <a:gd name="connsiteY6" fmla="*/ 10758 h 645459"/>
              <a:gd name="connsiteX7" fmla="*/ 1990165 w 3190091"/>
              <a:gd name="connsiteY7" fmla="*/ 5379 h 645459"/>
              <a:gd name="connsiteX8" fmla="*/ 2420471 w 3190091"/>
              <a:gd name="connsiteY8" fmla="*/ 0 h 645459"/>
              <a:gd name="connsiteX9" fmla="*/ 2694791 w 3190091"/>
              <a:gd name="connsiteY9" fmla="*/ 10758 h 645459"/>
              <a:gd name="connsiteX10" fmla="*/ 2753958 w 3190091"/>
              <a:gd name="connsiteY10" fmla="*/ 21515 h 645459"/>
              <a:gd name="connsiteX11" fmla="*/ 3098203 w 3190091"/>
              <a:gd name="connsiteY11" fmla="*/ 32273 h 645459"/>
              <a:gd name="connsiteX12" fmla="*/ 3151991 w 3190091"/>
              <a:gd name="connsiteY12" fmla="*/ 48409 h 645459"/>
              <a:gd name="connsiteX13" fmla="*/ 3168127 w 3190091"/>
              <a:gd name="connsiteY13" fmla="*/ 64546 h 645459"/>
              <a:gd name="connsiteX14" fmla="*/ 3178885 w 3190091"/>
              <a:gd name="connsiteY14" fmla="*/ 150607 h 645459"/>
              <a:gd name="connsiteX15" fmla="*/ 3184264 w 3190091"/>
              <a:gd name="connsiteY15" fmla="*/ 177501 h 645459"/>
              <a:gd name="connsiteX16" fmla="*/ 3184264 w 3190091"/>
              <a:gd name="connsiteY16" fmla="*/ 295835 h 645459"/>
              <a:gd name="connsiteX17" fmla="*/ 3178885 w 3190091"/>
              <a:gd name="connsiteY17" fmla="*/ 505609 h 645459"/>
              <a:gd name="connsiteX18" fmla="*/ 3146612 w 3190091"/>
              <a:gd name="connsiteY18" fmla="*/ 532504 h 645459"/>
              <a:gd name="connsiteX19" fmla="*/ 3130476 w 3190091"/>
              <a:gd name="connsiteY19" fmla="*/ 537882 h 645459"/>
              <a:gd name="connsiteX20" fmla="*/ 2947596 w 3190091"/>
              <a:gd name="connsiteY20" fmla="*/ 543261 h 645459"/>
              <a:gd name="connsiteX21" fmla="*/ 2775473 w 3190091"/>
              <a:gd name="connsiteY21" fmla="*/ 537882 h 645459"/>
              <a:gd name="connsiteX22" fmla="*/ 2737822 w 3190091"/>
              <a:gd name="connsiteY22" fmla="*/ 532504 h 645459"/>
              <a:gd name="connsiteX23" fmla="*/ 2447365 w 3190091"/>
              <a:gd name="connsiteY23" fmla="*/ 537882 h 645459"/>
              <a:gd name="connsiteX24" fmla="*/ 2178424 w 3190091"/>
              <a:gd name="connsiteY24" fmla="*/ 537882 h 645459"/>
              <a:gd name="connsiteX25" fmla="*/ 1500692 w 3190091"/>
              <a:gd name="connsiteY25" fmla="*/ 543261 h 645459"/>
              <a:gd name="connsiteX26" fmla="*/ 1420010 w 3190091"/>
              <a:gd name="connsiteY26" fmla="*/ 548640 h 645459"/>
              <a:gd name="connsiteX27" fmla="*/ 1414631 w 3190091"/>
              <a:gd name="connsiteY27" fmla="*/ 570155 h 645459"/>
              <a:gd name="connsiteX28" fmla="*/ 1409252 w 3190091"/>
              <a:gd name="connsiteY28" fmla="*/ 645459 h 645459"/>
              <a:gd name="connsiteX29" fmla="*/ 188259 w 3190091"/>
              <a:gd name="connsiteY29" fmla="*/ 640080 h 645459"/>
              <a:gd name="connsiteX30" fmla="*/ 139850 w 3190091"/>
              <a:gd name="connsiteY30" fmla="*/ 629322 h 645459"/>
              <a:gd name="connsiteX31" fmla="*/ 21516 w 3190091"/>
              <a:gd name="connsiteY31" fmla="*/ 623944 h 645459"/>
              <a:gd name="connsiteX32" fmla="*/ 21516 w 3190091"/>
              <a:gd name="connsiteY32" fmla="*/ 419548 h 645459"/>
              <a:gd name="connsiteX33" fmla="*/ 32273 w 3190091"/>
              <a:gd name="connsiteY33" fmla="*/ 365760 h 645459"/>
              <a:gd name="connsiteX34" fmla="*/ 26895 w 3190091"/>
              <a:gd name="connsiteY34" fmla="*/ 199016 h 645459"/>
              <a:gd name="connsiteX35" fmla="*/ 16137 w 3190091"/>
              <a:gd name="connsiteY35" fmla="*/ 182880 h 645459"/>
              <a:gd name="connsiteX36" fmla="*/ 10758 w 3190091"/>
              <a:gd name="connsiteY36" fmla="*/ 145228 h 645459"/>
              <a:gd name="connsiteX37" fmla="*/ 0 w 3190091"/>
              <a:gd name="connsiteY37" fmla="*/ 69925 h 645459"/>
              <a:gd name="connsiteX38" fmla="*/ 43031 w 3190091"/>
              <a:gd name="connsiteY38" fmla="*/ 21515 h 645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3190091" h="645459">
                <a:moveTo>
                  <a:pt x="43031" y="21515"/>
                </a:moveTo>
                <a:lnTo>
                  <a:pt x="43031" y="21515"/>
                </a:lnTo>
                <a:cubicBezTo>
                  <a:pt x="619937" y="7092"/>
                  <a:pt x="344394" y="11858"/>
                  <a:pt x="1430767" y="21515"/>
                </a:cubicBezTo>
                <a:cubicBezTo>
                  <a:pt x="1443445" y="21628"/>
                  <a:pt x="1455793" y="25746"/>
                  <a:pt x="1468419" y="26894"/>
                </a:cubicBezTo>
                <a:cubicBezTo>
                  <a:pt x="1495262" y="29334"/>
                  <a:pt x="1522208" y="30480"/>
                  <a:pt x="1549102" y="32273"/>
                </a:cubicBezTo>
                <a:lnTo>
                  <a:pt x="1861073" y="21515"/>
                </a:lnTo>
                <a:cubicBezTo>
                  <a:pt x="1932724" y="18307"/>
                  <a:pt x="1885592" y="17529"/>
                  <a:pt x="1936377" y="10758"/>
                </a:cubicBezTo>
                <a:cubicBezTo>
                  <a:pt x="1954238" y="8377"/>
                  <a:pt x="1972151" y="5779"/>
                  <a:pt x="1990165" y="5379"/>
                </a:cubicBezTo>
                <a:lnTo>
                  <a:pt x="2420471" y="0"/>
                </a:lnTo>
                <a:cubicBezTo>
                  <a:pt x="2511911" y="3586"/>
                  <a:pt x="2603471" y="4866"/>
                  <a:pt x="2694791" y="10758"/>
                </a:cubicBezTo>
                <a:cubicBezTo>
                  <a:pt x="2714795" y="12049"/>
                  <a:pt x="2733941" y="20447"/>
                  <a:pt x="2753958" y="21515"/>
                </a:cubicBezTo>
                <a:cubicBezTo>
                  <a:pt x="2868599" y="27629"/>
                  <a:pt x="2983455" y="28687"/>
                  <a:pt x="3098203" y="32273"/>
                </a:cubicBezTo>
                <a:cubicBezTo>
                  <a:pt x="3121739" y="36196"/>
                  <a:pt x="3132959" y="34815"/>
                  <a:pt x="3151991" y="48409"/>
                </a:cubicBezTo>
                <a:cubicBezTo>
                  <a:pt x="3158181" y="52830"/>
                  <a:pt x="3162748" y="59167"/>
                  <a:pt x="3168127" y="64546"/>
                </a:cubicBezTo>
                <a:cubicBezTo>
                  <a:pt x="3180255" y="125185"/>
                  <a:pt x="3166472" y="51303"/>
                  <a:pt x="3178885" y="150607"/>
                </a:cubicBezTo>
                <a:cubicBezTo>
                  <a:pt x="3180019" y="159679"/>
                  <a:pt x="3182471" y="168536"/>
                  <a:pt x="3184264" y="177501"/>
                </a:cubicBezTo>
                <a:cubicBezTo>
                  <a:pt x="3194722" y="302998"/>
                  <a:pt x="3188801" y="184681"/>
                  <a:pt x="3184264" y="295835"/>
                </a:cubicBezTo>
                <a:cubicBezTo>
                  <a:pt x="3181411" y="365724"/>
                  <a:pt x="3183753" y="435831"/>
                  <a:pt x="3178885" y="505609"/>
                </a:cubicBezTo>
                <a:cubicBezTo>
                  <a:pt x="3177088" y="531366"/>
                  <a:pt x="3164597" y="527366"/>
                  <a:pt x="3146612" y="532504"/>
                </a:cubicBezTo>
                <a:cubicBezTo>
                  <a:pt x="3141161" y="534061"/>
                  <a:pt x="3136137" y="537576"/>
                  <a:pt x="3130476" y="537882"/>
                </a:cubicBezTo>
                <a:cubicBezTo>
                  <a:pt x="3069579" y="541174"/>
                  <a:pt x="3008556" y="541468"/>
                  <a:pt x="2947596" y="543261"/>
                </a:cubicBezTo>
                <a:cubicBezTo>
                  <a:pt x="2890222" y="541468"/>
                  <a:pt x="2832800" y="540822"/>
                  <a:pt x="2775473" y="537882"/>
                </a:cubicBezTo>
                <a:cubicBezTo>
                  <a:pt x="2762812" y="537233"/>
                  <a:pt x="2750500" y="532504"/>
                  <a:pt x="2737822" y="532504"/>
                </a:cubicBezTo>
                <a:cubicBezTo>
                  <a:pt x="2640986" y="532504"/>
                  <a:pt x="2544184" y="536089"/>
                  <a:pt x="2447365" y="537882"/>
                </a:cubicBezTo>
                <a:cubicBezTo>
                  <a:pt x="2338174" y="559721"/>
                  <a:pt x="2457521" y="537882"/>
                  <a:pt x="2178424" y="537882"/>
                </a:cubicBezTo>
                <a:lnTo>
                  <a:pt x="1500692" y="543261"/>
                </a:lnTo>
                <a:cubicBezTo>
                  <a:pt x="1473798" y="545054"/>
                  <a:pt x="1445737" y="540600"/>
                  <a:pt x="1420010" y="548640"/>
                </a:cubicBezTo>
                <a:cubicBezTo>
                  <a:pt x="1412954" y="550845"/>
                  <a:pt x="1415447" y="562808"/>
                  <a:pt x="1414631" y="570155"/>
                </a:cubicBezTo>
                <a:cubicBezTo>
                  <a:pt x="1411852" y="595166"/>
                  <a:pt x="1411045" y="620358"/>
                  <a:pt x="1409252" y="645459"/>
                </a:cubicBezTo>
                <a:lnTo>
                  <a:pt x="188259" y="640080"/>
                </a:lnTo>
                <a:cubicBezTo>
                  <a:pt x="53486" y="638923"/>
                  <a:pt x="216711" y="635471"/>
                  <a:pt x="139850" y="629322"/>
                </a:cubicBezTo>
                <a:cubicBezTo>
                  <a:pt x="100490" y="626173"/>
                  <a:pt x="60961" y="625737"/>
                  <a:pt x="21516" y="623944"/>
                </a:cubicBezTo>
                <a:cubicBezTo>
                  <a:pt x="9379" y="538987"/>
                  <a:pt x="10874" y="564988"/>
                  <a:pt x="21516" y="419548"/>
                </a:cubicBezTo>
                <a:cubicBezTo>
                  <a:pt x="22850" y="401312"/>
                  <a:pt x="32273" y="365760"/>
                  <a:pt x="32273" y="365760"/>
                </a:cubicBezTo>
                <a:cubicBezTo>
                  <a:pt x="30480" y="310179"/>
                  <a:pt x="31783" y="254411"/>
                  <a:pt x="26895" y="199016"/>
                </a:cubicBezTo>
                <a:cubicBezTo>
                  <a:pt x="26327" y="192577"/>
                  <a:pt x="17995" y="189072"/>
                  <a:pt x="16137" y="182880"/>
                </a:cubicBezTo>
                <a:cubicBezTo>
                  <a:pt x="12494" y="170737"/>
                  <a:pt x="12239" y="157819"/>
                  <a:pt x="10758" y="145228"/>
                </a:cubicBezTo>
                <a:cubicBezTo>
                  <a:pt x="2605" y="75932"/>
                  <a:pt x="10586" y="112265"/>
                  <a:pt x="0" y="69925"/>
                </a:cubicBezTo>
                <a:cubicBezTo>
                  <a:pt x="6038" y="33697"/>
                  <a:pt x="35859" y="29583"/>
                  <a:pt x="43031" y="21515"/>
                </a:cubicBezTo>
                <a:close/>
              </a:path>
            </a:pathLst>
          </a:custGeom>
          <a:solidFill>
            <a:schemeClr val="accent4">
              <a:lumMod val="9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83DE825-80DA-ED2C-EDDB-9D3A66291BCC}"/>
              </a:ext>
            </a:extLst>
          </p:cNvPr>
          <p:cNvSpPr/>
          <p:nvPr/>
        </p:nvSpPr>
        <p:spPr>
          <a:xfrm>
            <a:off x="274320" y="1784809"/>
            <a:ext cx="3157483" cy="1783862"/>
          </a:xfrm>
          <a:custGeom>
            <a:avLst/>
            <a:gdLst>
              <a:gd name="connsiteX0" fmla="*/ 1194099 w 3157483"/>
              <a:gd name="connsiteY0" fmla="*/ 113916 h 1783862"/>
              <a:gd name="connsiteX1" fmla="*/ 1194099 w 3157483"/>
              <a:gd name="connsiteY1" fmla="*/ 113916 h 1783862"/>
              <a:gd name="connsiteX2" fmla="*/ 1199478 w 3157483"/>
              <a:gd name="connsiteY2" fmla="*/ 54749 h 1783862"/>
              <a:gd name="connsiteX3" fmla="*/ 1247887 w 3157483"/>
              <a:gd name="connsiteY3" fmla="*/ 38612 h 1783862"/>
              <a:gd name="connsiteX4" fmla="*/ 1731981 w 3157483"/>
              <a:gd name="connsiteY4" fmla="*/ 49370 h 1783862"/>
              <a:gd name="connsiteX5" fmla="*/ 2054711 w 3157483"/>
              <a:gd name="connsiteY5" fmla="*/ 38612 h 1783862"/>
              <a:gd name="connsiteX6" fmla="*/ 2791609 w 3157483"/>
              <a:gd name="connsiteY6" fmla="*/ 17097 h 1783862"/>
              <a:gd name="connsiteX7" fmla="*/ 3060551 w 3157483"/>
              <a:gd name="connsiteY7" fmla="*/ 22476 h 1783862"/>
              <a:gd name="connsiteX8" fmla="*/ 3092824 w 3157483"/>
              <a:gd name="connsiteY8" fmla="*/ 33233 h 1783862"/>
              <a:gd name="connsiteX9" fmla="*/ 3114339 w 3157483"/>
              <a:gd name="connsiteY9" fmla="*/ 70885 h 1783862"/>
              <a:gd name="connsiteX10" fmla="*/ 3125096 w 3157483"/>
              <a:gd name="connsiteY10" fmla="*/ 92400 h 1783862"/>
              <a:gd name="connsiteX11" fmla="*/ 3130475 w 3157483"/>
              <a:gd name="connsiteY11" fmla="*/ 113916 h 1783862"/>
              <a:gd name="connsiteX12" fmla="*/ 3135854 w 3157483"/>
              <a:gd name="connsiteY12" fmla="*/ 130052 h 1783862"/>
              <a:gd name="connsiteX13" fmla="*/ 3135854 w 3157483"/>
              <a:gd name="connsiteY13" fmla="*/ 926118 h 1783862"/>
              <a:gd name="connsiteX14" fmla="*/ 3125096 w 3157483"/>
              <a:gd name="connsiteY14" fmla="*/ 985285 h 1783862"/>
              <a:gd name="connsiteX15" fmla="*/ 3119718 w 3157483"/>
              <a:gd name="connsiteY15" fmla="*/ 1049831 h 1783862"/>
              <a:gd name="connsiteX16" fmla="*/ 3130475 w 3157483"/>
              <a:gd name="connsiteY16" fmla="*/ 1657638 h 1783862"/>
              <a:gd name="connsiteX17" fmla="*/ 3125096 w 3157483"/>
              <a:gd name="connsiteY17" fmla="*/ 1706047 h 1783862"/>
              <a:gd name="connsiteX18" fmla="*/ 3082066 w 3157483"/>
              <a:gd name="connsiteY18" fmla="*/ 1738320 h 1783862"/>
              <a:gd name="connsiteX19" fmla="*/ 2845398 w 3157483"/>
              <a:gd name="connsiteY19" fmla="*/ 1754457 h 1783862"/>
              <a:gd name="connsiteX20" fmla="*/ 2156908 w 3157483"/>
              <a:gd name="connsiteY20" fmla="*/ 1770593 h 1783862"/>
              <a:gd name="connsiteX21" fmla="*/ 871369 w 3157483"/>
              <a:gd name="connsiteY21" fmla="*/ 1765215 h 1783862"/>
              <a:gd name="connsiteX22" fmla="*/ 704626 w 3157483"/>
              <a:gd name="connsiteY22" fmla="*/ 1759836 h 1783862"/>
              <a:gd name="connsiteX23" fmla="*/ 677732 w 3157483"/>
              <a:gd name="connsiteY23" fmla="*/ 1749078 h 1783862"/>
              <a:gd name="connsiteX24" fmla="*/ 32273 w 3157483"/>
              <a:gd name="connsiteY24" fmla="*/ 1743699 h 1783862"/>
              <a:gd name="connsiteX25" fmla="*/ 16136 w 3157483"/>
              <a:gd name="connsiteY25" fmla="*/ 1738320 h 1783862"/>
              <a:gd name="connsiteX26" fmla="*/ 21515 w 3157483"/>
              <a:gd name="connsiteY26" fmla="*/ 1641502 h 1783862"/>
              <a:gd name="connsiteX27" fmla="*/ 32273 w 3157483"/>
              <a:gd name="connsiteY27" fmla="*/ 1571577 h 1783862"/>
              <a:gd name="connsiteX28" fmla="*/ 21515 w 3157483"/>
              <a:gd name="connsiteY28" fmla="*/ 1410212 h 1783862"/>
              <a:gd name="connsiteX29" fmla="*/ 16136 w 3157483"/>
              <a:gd name="connsiteY29" fmla="*/ 1275742 h 1783862"/>
              <a:gd name="connsiteX30" fmla="*/ 10758 w 3157483"/>
              <a:gd name="connsiteY30" fmla="*/ 1248847 h 1783862"/>
              <a:gd name="connsiteX31" fmla="*/ 5379 w 3157483"/>
              <a:gd name="connsiteY31" fmla="*/ 1216575 h 1783862"/>
              <a:gd name="connsiteX32" fmla="*/ 0 w 3157483"/>
              <a:gd name="connsiteY32" fmla="*/ 388236 h 1783862"/>
              <a:gd name="connsiteX33" fmla="*/ 5379 w 3157483"/>
              <a:gd name="connsiteY33" fmla="*/ 173083 h 1783862"/>
              <a:gd name="connsiteX34" fmla="*/ 21515 w 3157483"/>
              <a:gd name="connsiteY34" fmla="*/ 135431 h 1783862"/>
              <a:gd name="connsiteX35" fmla="*/ 48409 w 3157483"/>
              <a:gd name="connsiteY35" fmla="*/ 124673 h 1783862"/>
              <a:gd name="connsiteX36" fmla="*/ 209774 w 3157483"/>
              <a:gd name="connsiteY36" fmla="*/ 130052 h 1783862"/>
              <a:gd name="connsiteX37" fmla="*/ 365760 w 3157483"/>
              <a:gd name="connsiteY37" fmla="*/ 140810 h 1783862"/>
              <a:gd name="connsiteX38" fmla="*/ 1097280 w 3157483"/>
              <a:gd name="connsiteY38" fmla="*/ 135431 h 1783862"/>
              <a:gd name="connsiteX39" fmla="*/ 1140311 w 3157483"/>
              <a:gd name="connsiteY39" fmla="*/ 130052 h 1783862"/>
              <a:gd name="connsiteX40" fmla="*/ 1199478 w 3157483"/>
              <a:gd name="connsiteY40" fmla="*/ 124673 h 1783862"/>
              <a:gd name="connsiteX41" fmla="*/ 1194099 w 3157483"/>
              <a:gd name="connsiteY41" fmla="*/ 113916 h 1783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3157483" h="1783862">
                <a:moveTo>
                  <a:pt x="1194099" y="113916"/>
                </a:moveTo>
                <a:lnTo>
                  <a:pt x="1194099" y="113916"/>
                </a:lnTo>
                <a:cubicBezTo>
                  <a:pt x="1195892" y="94194"/>
                  <a:pt x="1187967" y="70864"/>
                  <a:pt x="1199478" y="54749"/>
                </a:cubicBezTo>
                <a:cubicBezTo>
                  <a:pt x="1209364" y="40908"/>
                  <a:pt x="1247887" y="38612"/>
                  <a:pt x="1247887" y="38612"/>
                </a:cubicBezTo>
                <a:lnTo>
                  <a:pt x="1731981" y="49370"/>
                </a:lnTo>
                <a:cubicBezTo>
                  <a:pt x="1946241" y="50900"/>
                  <a:pt x="1926311" y="51452"/>
                  <a:pt x="2054711" y="38612"/>
                </a:cubicBezTo>
                <a:cubicBezTo>
                  <a:pt x="2315104" y="-35783"/>
                  <a:pt x="2104303" y="20915"/>
                  <a:pt x="2791609" y="17097"/>
                </a:cubicBezTo>
                <a:cubicBezTo>
                  <a:pt x="2881273" y="16599"/>
                  <a:pt x="2970904" y="20683"/>
                  <a:pt x="3060551" y="22476"/>
                </a:cubicBezTo>
                <a:cubicBezTo>
                  <a:pt x="3071309" y="26062"/>
                  <a:pt x="3084395" y="25647"/>
                  <a:pt x="3092824" y="33233"/>
                </a:cubicBezTo>
                <a:cubicBezTo>
                  <a:pt x="3103568" y="42903"/>
                  <a:pt x="3107417" y="58195"/>
                  <a:pt x="3114339" y="70885"/>
                </a:cubicBezTo>
                <a:cubicBezTo>
                  <a:pt x="3118178" y="77924"/>
                  <a:pt x="3122281" y="84892"/>
                  <a:pt x="3125096" y="92400"/>
                </a:cubicBezTo>
                <a:cubicBezTo>
                  <a:pt x="3127692" y="99322"/>
                  <a:pt x="3128444" y="106808"/>
                  <a:pt x="3130475" y="113916"/>
                </a:cubicBezTo>
                <a:cubicBezTo>
                  <a:pt x="3132033" y="119367"/>
                  <a:pt x="3134061" y="124673"/>
                  <a:pt x="3135854" y="130052"/>
                </a:cubicBezTo>
                <a:cubicBezTo>
                  <a:pt x="3176557" y="414967"/>
                  <a:pt x="3149890" y="214993"/>
                  <a:pt x="3135854" y="926118"/>
                </a:cubicBezTo>
                <a:cubicBezTo>
                  <a:pt x="3135458" y="946160"/>
                  <a:pt x="3128682" y="965563"/>
                  <a:pt x="3125096" y="985285"/>
                </a:cubicBezTo>
                <a:cubicBezTo>
                  <a:pt x="3123303" y="1006800"/>
                  <a:pt x="3119718" y="1028241"/>
                  <a:pt x="3119718" y="1049831"/>
                </a:cubicBezTo>
                <a:cubicBezTo>
                  <a:pt x="3119718" y="1630884"/>
                  <a:pt x="3062878" y="1454861"/>
                  <a:pt x="3130475" y="1657638"/>
                </a:cubicBezTo>
                <a:cubicBezTo>
                  <a:pt x="3128682" y="1673774"/>
                  <a:pt x="3133449" y="1692125"/>
                  <a:pt x="3125096" y="1706047"/>
                </a:cubicBezTo>
                <a:cubicBezTo>
                  <a:pt x="3115871" y="1721421"/>
                  <a:pt x="3099962" y="1737235"/>
                  <a:pt x="3082066" y="1738320"/>
                </a:cubicBezTo>
                <a:cubicBezTo>
                  <a:pt x="2884798" y="1750276"/>
                  <a:pt x="2963597" y="1743711"/>
                  <a:pt x="2845398" y="1754457"/>
                </a:cubicBezTo>
                <a:cubicBezTo>
                  <a:pt x="2619997" y="1810807"/>
                  <a:pt x="2412870" y="1768442"/>
                  <a:pt x="2156908" y="1770593"/>
                </a:cubicBezTo>
                <a:lnTo>
                  <a:pt x="871369" y="1765215"/>
                </a:lnTo>
                <a:cubicBezTo>
                  <a:pt x="815761" y="1764803"/>
                  <a:pt x="760044" y="1764454"/>
                  <a:pt x="704626" y="1759836"/>
                </a:cubicBezTo>
                <a:cubicBezTo>
                  <a:pt x="695004" y="1759034"/>
                  <a:pt x="687385" y="1749310"/>
                  <a:pt x="677732" y="1749078"/>
                </a:cubicBezTo>
                <a:cubicBezTo>
                  <a:pt x="462633" y="1743915"/>
                  <a:pt x="247426" y="1745492"/>
                  <a:pt x="32273" y="1743699"/>
                </a:cubicBezTo>
                <a:cubicBezTo>
                  <a:pt x="26894" y="1741906"/>
                  <a:pt x="16730" y="1743959"/>
                  <a:pt x="16136" y="1738320"/>
                </a:cubicBezTo>
                <a:cubicBezTo>
                  <a:pt x="12752" y="1706175"/>
                  <a:pt x="19212" y="1673742"/>
                  <a:pt x="21515" y="1641502"/>
                </a:cubicBezTo>
                <a:cubicBezTo>
                  <a:pt x="25297" y="1588554"/>
                  <a:pt x="21876" y="1602768"/>
                  <a:pt x="32273" y="1571577"/>
                </a:cubicBezTo>
                <a:cubicBezTo>
                  <a:pt x="28687" y="1517789"/>
                  <a:pt x="24451" y="1464040"/>
                  <a:pt x="21515" y="1410212"/>
                </a:cubicBezTo>
                <a:cubicBezTo>
                  <a:pt x="19072" y="1365419"/>
                  <a:pt x="19120" y="1320502"/>
                  <a:pt x="16136" y="1275742"/>
                </a:cubicBezTo>
                <a:cubicBezTo>
                  <a:pt x="15528" y="1266620"/>
                  <a:pt x="12393" y="1257842"/>
                  <a:pt x="10758" y="1248847"/>
                </a:cubicBezTo>
                <a:cubicBezTo>
                  <a:pt x="8807" y="1238117"/>
                  <a:pt x="7172" y="1227332"/>
                  <a:pt x="5379" y="1216575"/>
                </a:cubicBezTo>
                <a:cubicBezTo>
                  <a:pt x="3586" y="940462"/>
                  <a:pt x="0" y="664355"/>
                  <a:pt x="0" y="388236"/>
                </a:cubicBezTo>
                <a:cubicBezTo>
                  <a:pt x="0" y="316496"/>
                  <a:pt x="2046" y="244746"/>
                  <a:pt x="5379" y="173083"/>
                </a:cubicBezTo>
                <a:cubicBezTo>
                  <a:pt x="5680" y="166609"/>
                  <a:pt x="18989" y="137596"/>
                  <a:pt x="21515" y="135431"/>
                </a:cubicBezTo>
                <a:cubicBezTo>
                  <a:pt x="28846" y="129147"/>
                  <a:pt x="39444" y="128259"/>
                  <a:pt x="48409" y="124673"/>
                </a:cubicBezTo>
                <a:lnTo>
                  <a:pt x="209774" y="130052"/>
                </a:lnTo>
                <a:cubicBezTo>
                  <a:pt x="338387" y="134905"/>
                  <a:pt x="294356" y="128909"/>
                  <a:pt x="365760" y="140810"/>
                </a:cubicBezTo>
                <a:lnTo>
                  <a:pt x="1097280" y="135431"/>
                </a:lnTo>
                <a:cubicBezTo>
                  <a:pt x="1111734" y="135230"/>
                  <a:pt x="1125935" y="131565"/>
                  <a:pt x="1140311" y="130052"/>
                </a:cubicBezTo>
                <a:cubicBezTo>
                  <a:pt x="1160006" y="127979"/>
                  <a:pt x="1179756" y="126466"/>
                  <a:pt x="1199478" y="124673"/>
                </a:cubicBezTo>
                <a:cubicBezTo>
                  <a:pt x="1237066" y="117156"/>
                  <a:pt x="1194995" y="115709"/>
                  <a:pt x="1194099" y="113916"/>
                </a:cubicBezTo>
                <a:close/>
              </a:path>
            </a:pathLst>
          </a:custGeom>
          <a:solidFill>
            <a:schemeClr val="bg2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2A4A65F-1D0F-A04D-446B-F2C9BC7377AD}"/>
              </a:ext>
            </a:extLst>
          </p:cNvPr>
          <p:cNvSpPr/>
          <p:nvPr/>
        </p:nvSpPr>
        <p:spPr>
          <a:xfrm>
            <a:off x="220532" y="3350765"/>
            <a:ext cx="3200947" cy="845425"/>
          </a:xfrm>
          <a:custGeom>
            <a:avLst/>
            <a:gdLst>
              <a:gd name="connsiteX0" fmla="*/ 2156908 w 3200947"/>
              <a:gd name="connsiteY0" fmla="*/ 86303 h 845425"/>
              <a:gd name="connsiteX1" fmla="*/ 2156908 w 3200947"/>
              <a:gd name="connsiteY1" fmla="*/ 86303 h 845425"/>
              <a:gd name="connsiteX2" fmla="*/ 2146150 w 3200947"/>
              <a:gd name="connsiteY2" fmla="*/ 27136 h 845425"/>
              <a:gd name="connsiteX3" fmla="*/ 2259106 w 3200947"/>
              <a:gd name="connsiteY3" fmla="*/ 5621 h 845425"/>
              <a:gd name="connsiteX4" fmla="*/ 2323652 w 3200947"/>
              <a:gd name="connsiteY4" fmla="*/ 16379 h 845425"/>
              <a:gd name="connsiteX5" fmla="*/ 2673275 w 3200947"/>
              <a:gd name="connsiteY5" fmla="*/ 11000 h 845425"/>
              <a:gd name="connsiteX6" fmla="*/ 2710927 w 3200947"/>
              <a:gd name="connsiteY6" fmla="*/ 5621 h 845425"/>
              <a:gd name="connsiteX7" fmla="*/ 2737821 w 3200947"/>
              <a:gd name="connsiteY7" fmla="*/ 242 h 845425"/>
              <a:gd name="connsiteX8" fmla="*/ 3098202 w 3200947"/>
              <a:gd name="connsiteY8" fmla="*/ 5621 h 845425"/>
              <a:gd name="connsiteX9" fmla="*/ 3162748 w 3200947"/>
              <a:gd name="connsiteY9" fmla="*/ 21757 h 845425"/>
              <a:gd name="connsiteX10" fmla="*/ 3168127 w 3200947"/>
              <a:gd name="connsiteY10" fmla="*/ 48651 h 845425"/>
              <a:gd name="connsiteX11" fmla="*/ 3195021 w 3200947"/>
              <a:gd name="connsiteY11" fmla="*/ 118576 h 845425"/>
              <a:gd name="connsiteX12" fmla="*/ 3195021 w 3200947"/>
              <a:gd name="connsiteY12" fmla="*/ 495094 h 845425"/>
              <a:gd name="connsiteX13" fmla="*/ 3178884 w 3200947"/>
              <a:gd name="connsiteY13" fmla="*/ 532746 h 845425"/>
              <a:gd name="connsiteX14" fmla="*/ 3146612 w 3200947"/>
              <a:gd name="connsiteY14" fmla="*/ 591913 h 845425"/>
              <a:gd name="connsiteX15" fmla="*/ 3135854 w 3200947"/>
              <a:gd name="connsiteY15" fmla="*/ 629564 h 845425"/>
              <a:gd name="connsiteX16" fmla="*/ 3114339 w 3200947"/>
              <a:gd name="connsiteY16" fmla="*/ 661837 h 845425"/>
              <a:gd name="connsiteX17" fmla="*/ 3082066 w 3200947"/>
              <a:gd name="connsiteY17" fmla="*/ 672595 h 845425"/>
              <a:gd name="connsiteX18" fmla="*/ 2979868 w 3200947"/>
              <a:gd name="connsiteY18" fmla="*/ 688731 h 845425"/>
              <a:gd name="connsiteX19" fmla="*/ 2936837 w 3200947"/>
              <a:gd name="connsiteY19" fmla="*/ 699489 h 845425"/>
              <a:gd name="connsiteX20" fmla="*/ 2904564 w 3200947"/>
              <a:gd name="connsiteY20" fmla="*/ 704868 h 845425"/>
              <a:gd name="connsiteX21" fmla="*/ 1855694 w 3200947"/>
              <a:gd name="connsiteY21" fmla="*/ 721004 h 845425"/>
              <a:gd name="connsiteX22" fmla="*/ 1629783 w 3200947"/>
              <a:gd name="connsiteY22" fmla="*/ 731762 h 845425"/>
              <a:gd name="connsiteX23" fmla="*/ 1597510 w 3200947"/>
              <a:gd name="connsiteY23" fmla="*/ 737141 h 845425"/>
              <a:gd name="connsiteX24" fmla="*/ 1420009 w 3200947"/>
              <a:gd name="connsiteY24" fmla="*/ 742520 h 845425"/>
              <a:gd name="connsiteX25" fmla="*/ 1409252 w 3200947"/>
              <a:gd name="connsiteY25" fmla="*/ 769414 h 845425"/>
              <a:gd name="connsiteX26" fmla="*/ 1414630 w 3200947"/>
              <a:gd name="connsiteY26" fmla="*/ 839339 h 845425"/>
              <a:gd name="connsiteX27" fmla="*/ 1124174 w 3200947"/>
              <a:gd name="connsiteY27" fmla="*/ 833960 h 845425"/>
              <a:gd name="connsiteX28" fmla="*/ 1005840 w 3200947"/>
              <a:gd name="connsiteY28" fmla="*/ 828581 h 845425"/>
              <a:gd name="connsiteX29" fmla="*/ 984324 w 3200947"/>
              <a:gd name="connsiteY29" fmla="*/ 823202 h 845425"/>
              <a:gd name="connsiteX30" fmla="*/ 510988 w 3200947"/>
              <a:gd name="connsiteY30" fmla="*/ 833960 h 845425"/>
              <a:gd name="connsiteX31" fmla="*/ 96819 w 3200947"/>
              <a:gd name="connsiteY31" fmla="*/ 828581 h 845425"/>
              <a:gd name="connsiteX32" fmla="*/ 64546 w 3200947"/>
              <a:gd name="connsiteY32" fmla="*/ 812444 h 845425"/>
              <a:gd name="connsiteX33" fmla="*/ 43030 w 3200947"/>
              <a:gd name="connsiteY33" fmla="*/ 785550 h 845425"/>
              <a:gd name="connsiteX34" fmla="*/ 37652 w 3200947"/>
              <a:gd name="connsiteY34" fmla="*/ 753277 h 845425"/>
              <a:gd name="connsiteX35" fmla="*/ 32273 w 3200947"/>
              <a:gd name="connsiteY35" fmla="*/ 715626 h 845425"/>
              <a:gd name="connsiteX36" fmla="*/ 26894 w 3200947"/>
              <a:gd name="connsiteY36" fmla="*/ 688731 h 845425"/>
              <a:gd name="connsiteX37" fmla="*/ 16136 w 3200947"/>
              <a:gd name="connsiteY37" fmla="*/ 581155 h 845425"/>
              <a:gd name="connsiteX38" fmla="*/ 10757 w 3200947"/>
              <a:gd name="connsiteY38" fmla="*/ 360623 h 845425"/>
              <a:gd name="connsiteX39" fmla="*/ 5379 w 3200947"/>
              <a:gd name="connsiteY39" fmla="*/ 339108 h 845425"/>
              <a:gd name="connsiteX40" fmla="*/ 0 w 3200947"/>
              <a:gd name="connsiteY40" fmla="*/ 306835 h 845425"/>
              <a:gd name="connsiteX41" fmla="*/ 10757 w 3200947"/>
              <a:gd name="connsiteY41" fmla="*/ 199259 h 845425"/>
              <a:gd name="connsiteX42" fmla="*/ 26894 w 3200947"/>
              <a:gd name="connsiteY42" fmla="*/ 183122 h 845425"/>
              <a:gd name="connsiteX43" fmla="*/ 48409 w 3200947"/>
              <a:gd name="connsiteY43" fmla="*/ 123955 h 845425"/>
              <a:gd name="connsiteX44" fmla="*/ 64546 w 3200947"/>
              <a:gd name="connsiteY44" fmla="*/ 107819 h 845425"/>
              <a:gd name="connsiteX45" fmla="*/ 80682 w 3200947"/>
              <a:gd name="connsiteY45" fmla="*/ 102440 h 845425"/>
              <a:gd name="connsiteX46" fmla="*/ 215153 w 3200947"/>
              <a:gd name="connsiteY46" fmla="*/ 107819 h 845425"/>
              <a:gd name="connsiteX47" fmla="*/ 258183 w 3200947"/>
              <a:gd name="connsiteY47" fmla="*/ 113197 h 845425"/>
              <a:gd name="connsiteX48" fmla="*/ 984324 w 3200947"/>
              <a:gd name="connsiteY48" fmla="*/ 118576 h 845425"/>
              <a:gd name="connsiteX49" fmla="*/ 1172583 w 3200947"/>
              <a:gd name="connsiteY49" fmla="*/ 118576 h 845425"/>
              <a:gd name="connsiteX50" fmla="*/ 1280160 w 3200947"/>
              <a:gd name="connsiteY50" fmla="*/ 107819 h 845425"/>
              <a:gd name="connsiteX51" fmla="*/ 1350084 w 3200947"/>
              <a:gd name="connsiteY51" fmla="*/ 97061 h 845425"/>
              <a:gd name="connsiteX52" fmla="*/ 1791148 w 3200947"/>
              <a:gd name="connsiteY52" fmla="*/ 102440 h 845425"/>
              <a:gd name="connsiteX53" fmla="*/ 1828800 w 3200947"/>
              <a:gd name="connsiteY53" fmla="*/ 107819 h 845425"/>
              <a:gd name="connsiteX54" fmla="*/ 1920240 w 3200947"/>
              <a:gd name="connsiteY54" fmla="*/ 123955 h 845425"/>
              <a:gd name="connsiteX55" fmla="*/ 2086983 w 3200947"/>
              <a:gd name="connsiteY55" fmla="*/ 118576 h 845425"/>
              <a:gd name="connsiteX56" fmla="*/ 2113877 w 3200947"/>
              <a:gd name="connsiteY56" fmla="*/ 107819 h 845425"/>
              <a:gd name="connsiteX57" fmla="*/ 2156908 w 3200947"/>
              <a:gd name="connsiteY57" fmla="*/ 86303 h 845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3200947" h="845425">
                <a:moveTo>
                  <a:pt x="2156908" y="86303"/>
                </a:moveTo>
                <a:lnTo>
                  <a:pt x="2156908" y="86303"/>
                </a:lnTo>
                <a:cubicBezTo>
                  <a:pt x="2153322" y="66581"/>
                  <a:pt x="2138115" y="45501"/>
                  <a:pt x="2146150" y="27136"/>
                </a:cubicBezTo>
                <a:cubicBezTo>
                  <a:pt x="2164295" y="-14338"/>
                  <a:pt x="2233635" y="3498"/>
                  <a:pt x="2259106" y="5621"/>
                </a:cubicBezTo>
                <a:cubicBezTo>
                  <a:pt x="2274377" y="8675"/>
                  <a:pt x="2310308" y="16379"/>
                  <a:pt x="2323652" y="16379"/>
                </a:cubicBezTo>
                <a:cubicBezTo>
                  <a:pt x="2440207" y="16379"/>
                  <a:pt x="2556734" y="12793"/>
                  <a:pt x="2673275" y="11000"/>
                </a:cubicBezTo>
                <a:cubicBezTo>
                  <a:pt x="2685826" y="9207"/>
                  <a:pt x="2698421" y="7705"/>
                  <a:pt x="2710927" y="5621"/>
                </a:cubicBezTo>
                <a:cubicBezTo>
                  <a:pt x="2719945" y="4118"/>
                  <a:pt x="2728679" y="242"/>
                  <a:pt x="2737821" y="242"/>
                </a:cubicBezTo>
                <a:cubicBezTo>
                  <a:pt x="2857961" y="242"/>
                  <a:pt x="2978075" y="3828"/>
                  <a:pt x="3098202" y="5621"/>
                </a:cubicBezTo>
                <a:cubicBezTo>
                  <a:pt x="3105355" y="6515"/>
                  <a:pt x="3152618" y="7575"/>
                  <a:pt x="3162748" y="21757"/>
                </a:cubicBezTo>
                <a:cubicBezTo>
                  <a:pt x="3168062" y="29196"/>
                  <a:pt x="3165236" y="39978"/>
                  <a:pt x="3168127" y="48651"/>
                </a:cubicBezTo>
                <a:cubicBezTo>
                  <a:pt x="3176024" y="72342"/>
                  <a:pt x="3195021" y="118576"/>
                  <a:pt x="3195021" y="118576"/>
                </a:cubicBezTo>
                <a:cubicBezTo>
                  <a:pt x="3201620" y="296737"/>
                  <a:pt x="3204128" y="285630"/>
                  <a:pt x="3195021" y="495094"/>
                </a:cubicBezTo>
                <a:cubicBezTo>
                  <a:pt x="3194614" y="504452"/>
                  <a:pt x="3181559" y="526504"/>
                  <a:pt x="3178884" y="532746"/>
                </a:cubicBezTo>
                <a:cubicBezTo>
                  <a:pt x="3158403" y="580536"/>
                  <a:pt x="3205613" y="497510"/>
                  <a:pt x="3146612" y="591913"/>
                </a:cubicBezTo>
                <a:cubicBezTo>
                  <a:pt x="3145346" y="596978"/>
                  <a:pt x="3139362" y="623250"/>
                  <a:pt x="3135854" y="629564"/>
                </a:cubicBezTo>
                <a:cubicBezTo>
                  <a:pt x="3129575" y="640866"/>
                  <a:pt x="3126605" y="657748"/>
                  <a:pt x="3114339" y="661837"/>
                </a:cubicBezTo>
                <a:cubicBezTo>
                  <a:pt x="3103581" y="665423"/>
                  <a:pt x="3093006" y="669611"/>
                  <a:pt x="3082066" y="672595"/>
                </a:cubicBezTo>
                <a:cubicBezTo>
                  <a:pt x="3059289" y="678807"/>
                  <a:pt x="2983843" y="688163"/>
                  <a:pt x="2979868" y="688731"/>
                </a:cubicBezTo>
                <a:cubicBezTo>
                  <a:pt x="2957473" y="696196"/>
                  <a:pt x="2965398" y="694296"/>
                  <a:pt x="2936837" y="699489"/>
                </a:cubicBezTo>
                <a:cubicBezTo>
                  <a:pt x="2926107" y="701440"/>
                  <a:pt x="2915468" y="704651"/>
                  <a:pt x="2904564" y="704868"/>
                </a:cubicBezTo>
                <a:lnTo>
                  <a:pt x="1855694" y="721004"/>
                </a:lnTo>
                <a:cubicBezTo>
                  <a:pt x="1797361" y="723165"/>
                  <a:pt x="1695464" y="725506"/>
                  <a:pt x="1629783" y="731762"/>
                </a:cubicBezTo>
                <a:cubicBezTo>
                  <a:pt x="1618926" y="732796"/>
                  <a:pt x="1608402" y="736582"/>
                  <a:pt x="1597510" y="737141"/>
                </a:cubicBezTo>
                <a:cubicBezTo>
                  <a:pt x="1538394" y="740173"/>
                  <a:pt x="1479176" y="740727"/>
                  <a:pt x="1420009" y="742520"/>
                </a:cubicBezTo>
                <a:cubicBezTo>
                  <a:pt x="1379231" y="756112"/>
                  <a:pt x="1378664" y="746473"/>
                  <a:pt x="1409252" y="769414"/>
                </a:cubicBezTo>
                <a:cubicBezTo>
                  <a:pt x="1417231" y="781383"/>
                  <a:pt x="1456257" y="832527"/>
                  <a:pt x="1414630" y="839339"/>
                </a:cubicBezTo>
                <a:cubicBezTo>
                  <a:pt x="1319066" y="854977"/>
                  <a:pt x="1220993" y="835753"/>
                  <a:pt x="1124174" y="833960"/>
                </a:cubicBezTo>
                <a:cubicBezTo>
                  <a:pt x="1084729" y="832167"/>
                  <a:pt x="1045209" y="831609"/>
                  <a:pt x="1005840" y="828581"/>
                </a:cubicBezTo>
                <a:cubicBezTo>
                  <a:pt x="998469" y="828014"/>
                  <a:pt x="991716" y="823122"/>
                  <a:pt x="984324" y="823202"/>
                </a:cubicBezTo>
                <a:cubicBezTo>
                  <a:pt x="826514" y="824917"/>
                  <a:pt x="668767" y="830374"/>
                  <a:pt x="510988" y="833960"/>
                </a:cubicBezTo>
                <a:lnTo>
                  <a:pt x="96819" y="828581"/>
                </a:lnTo>
                <a:cubicBezTo>
                  <a:pt x="84805" y="828002"/>
                  <a:pt x="73938" y="819958"/>
                  <a:pt x="64546" y="812444"/>
                </a:cubicBezTo>
                <a:cubicBezTo>
                  <a:pt x="55581" y="805272"/>
                  <a:pt x="50202" y="794515"/>
                  <a:pt x="43030" y="785550"/>
                </a:cubicBezTo>
                <a:cubicBezTo>
                  <a:pt x="41237" y="774792"/>
                  <a:pt x="39310" y="764056"/>
                  <a:pt x="37652" y="753277"/>
                </a:cubicBezTo>
                <a:cubicBezTo>
                  <a:pt x="35724" y="740747"/>
                  <a:pt x="34357" y="728131"/>
                  <a:pt x="32273" y="715626"/>
                </a:cubicBezTo>
                <a:cubicBezTo>
                  <a:pt x="30770" y="706608"/>
                  <a:pt x="27983" y="697808"/>
                  <a:pt x="26894" y="688731"/>
                </a:cubicBezTo>
                <a:cubicBezTo>
                  <a:pt x="22600" y="652950"/>
                  <a:pt x="19722" y="617014"/>
                  <a:pt x="16136" y="581155"/>
                </a:cubicBezTo>
                <a:cubicBezTo>
                  <a:pt x="14343" y="507644"/>
                  <a:pt x="14022" y="434083"/>
                  <a:pt x="10757" y="360623"/>
                </a:cubicBezTo>
                <a:cubicBezTo>
                  <a:pt x="10429" y="353238"/>
                  <a:pt x="6829" y="346357"/>
                  <a:pt x="5379" y="339108"/>
                </a:cubicBezTo>
                <a:cubicBezTo>
                  <a:pt x="3240" y="328414"/>
                  <a:pt x="1793" y="317593"/>
                  <a:pt x="0" y="306835"/>
                </a:cubicBezTo>
                <a:cubicBezTo>
                  <a:pt x="3586" y="270976"/>
                  <a:pt x="3102" y="234474"/>
                  <a:pt x="10757" y="199259"/>
                </a:cubicBezTo>
                <a:cubicBezTo>
                  <a:pt x="12373" y="191826"/>
                  <a:pt x="23746" y="190047"/>
                  <a:pt x="26894" y="183122"/>
                </a:cubicBezTo>
                <a:cubicBezTo>
                  <a:pt x="48394" y="135822"/>
                  <a:pt x="25440" y="151517"/>
                  <a:pt x="48409" y="123955"/>
                </a:cubicBezTo>
                <a:cubicBezTo>
                  <a:pt x="53279" y="118111"/>
                  <a:pt x="58217" y="112038"/>
                  <a:pt x="64546" y="107819"/>
                </a:cubicBezTo>
                <a:cubicBezTo>
                  <a:pt x="69263" y="104674"/>
                  <a:pt x="75303" y="104233"/>
                  <a:pt x="80682" y="102440"/>
                </a:cubicBezTo>
                <a:cubicBezTo>
                  <a:pt x="125506" y="104233"/>
                  <a:pt x="170376" y="105105"/>
                  <a:pt x="215153" y="107819"/>
                </a:cubicBezTo>
                <a:cubicBezTo>
                  <a:pt x="229581" y="108693"/>
                  <a:pt x="243729" y="112995"/>
                  <a:pt x="258183" y="113197"/>
                </a:cubicBezTo>
                <a:lnTo>
                  <a:pt x="984324" y="118576"/>
                </a:lnTo>
                <a:cubicBezTo>
                  <a:pt x="1068664" y="129119"/>
                  <a:pt x="1035563" y="127322"/>
                  <a:pt x="1172583" y="118576"/>
                </a:cubicBezTo>
                <a:cubicBezTo>
                  <a:pt x="1208548" y="116280"/>
                  <a:pt x="1280160" y="107819"/>
                  <a:pt x="1280160" y="107819"/>
                </a:cubicBezTo>
                <a:cubicBezTo>
                  <a:pt x="1307780" y="98612"/>
                  <a:pt x="1308483" y="97061"/>
                  <a:pt x="1350084" y="97061"/>
                </a:cubicBezTo>
                <a:cubicBezTo>
                  <a:pt x="1497116" y="97061"/>
                  <a:pt x="1644127" y="100647"/>
                  <a:pt x="1791148" y="102440"/>
                </a:cubicBezTo>
                <a:cubicBezTo>
                  <a:pt x="1803699" y="104233"/>
                  <a:pt x="1816315" y="105616"/>
                  <a:pt x="1828800" y="107819"/>
                </a:cubicBezTo>
                <a:cubicBezTo>
                  <a:pt x="1941374" y="127684"/>
                  <a:pt x="1832346" y="111398"/>
                  <a:pt x="1920240" y="123955"/>
                </a:cubicBezTo>
                <a:cubicBezTo>
                  <a:pt x="1975821" y="122162"/>
                  <a:pt x="2031565" y="123194"/>
                  <a:pt x="2086983" y="118576"/>
                </a:cubicBezTo>
                <a:cubicBezTo>
                  <a:pt x="2096605" y="117774"/>
                  <a:pt x="2104837" y="111209"/>
                  <a:pt x="2113877" y="107819"/>
                </a:cubicBezTo>
                <a:cubicBezTo>
                  <a:pt x="2129311" y="102031"/>
                  <a:pt x="2149736" y="89889"/>
                  <a:pt x="2156908" y="86303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E9DFE93-758F-7374-9F36-5A03B2817353}"/>
              </a:ext>
            </a:extLst>
          </p:cNvPr>
          <p:cNvSpPr/>
          <p:nvPr/>
        </p:nvSpPr>
        <p:spPr>
          <a:xfrm>
            <a:off x="5819752" y="1407983"/>
            <a:ext cx="3049928" cy="1690219"/>
          </a:xfrm>
          <a:prstGeom prst="rect">
            <a:avLst/>
          </a:prstGeom>
          <a:solidFill>
            <a:schemeClr val="accent4">
              <a:lumMod val="9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B935500-F731-B7C4-2358-5AE090F45384}"/>
              </a:ext>
            </a:extLst>
          </p:cNvPr>
          <p:cNvSpPr/>
          <p:nvPr/>
        </p:nvSpPr>
        <p:spPr>
          <a:xfrm>
            <a:off x="5819752" y="3098202"/>
            <a:ext cx="3036909" cy="845425"/>
          </a:xfrm>
          <a:prstGeom prst="rect">
            <a:avLst/>
          </a:prstGeom>
          <a:solidFill>
            <a:schemeClr val="bg2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301FEB0-8157-389F-7AC2-D64CB483ABF8}"/>
              </a:ext>
            </a:extLst>
          </p:cNvPr>
          <p:cNvSpPr/>
          <p:nvPr/>
        </p:nvSpPr>
        <p:spPr>
          <a:xfrm>
            <a:off x="5819752" y="3943627"/>
            <a:ext cx="3029503" cy="844794"/>
          </a:xfrm>
          <a:prstGeom prst="rect">
            <a:avLst/>
          </a:prstGeo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45B7989-E3BA-9FFF-B46D-73F1A87FB7A7}"/>
              </a:ext>
            </a:extLst>
          </p:cNvPr>
          <p:cNvSpPr txBox="1"/>
          <p:nvPr/>
        </p:nvSpPr>
        <p:spPr>
          <a:xfrm>
            <a:off x="2043366" y="1054269"/>
            <a:ext cx="1420009" cy="37113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defTabSz="685783">
              <a:lnSpc>
                <a:spcPct val="90000"/>
              </a:lnSpc>
              <a:spcBef>
                <a:spcPct val="0"/>
              </a:spcBef>
            </a:pPr>
            <a:r>
              <a:rPr lang="en-US" sz="160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Overlappende</a:t>
            </a:r>
            <a:endParaRPr lang="en-US" sz="1600" err="1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53235E6-C0A2-7564-45F1-172DB8E6C93B}"/>
              </a:ext>
            </a:extLst>
          </p:cNvPr>
          <p:cNvSpPr txBox="1"/>
          <p:nvPr/>
        </p:nvSpPr>
        <p:spPr>
          <a:xfrm>
            <a:off x="6888542" y="1054269"/>
            <a:ext cx="2256004" cy="371138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noAutofit/>
          </a:bodyPr>
          <a:lstStyle/>
          <a:p>
            <a:pPr defTabSz="685783">
              <a:lnSpc>
                <a:spcPct val="90000"/>
              </a:lnSpc>
              <a:spcBef>
                <a:spcPct val="0"/>
              </a:spcBef>
            </a:pPr>
            <a:r>
              <a:rPr lang="en-US" sz="160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Basert</a:t>
            </a:r>
            <a:r>
              <a:rPr lang="en-US" sz="160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60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å</a:t>
            </a:r>
            <a:r>
              <a:rPr lang="en-US" sz="160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60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ormatering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6C92B94-10E4-FF24-EF4B-E30DA0E0C6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4114" y="688477"/>
            <a:ext cx="1045288" cy="551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6120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1D45B3-503B-AE52-E8EA-7A1E72B5E6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Arkitektur</a:t>
            </a:r>
            <a:r>
              <a:rPr lang="en-US"/>
              <a:t>: Azure OpenAI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1648663-3FB2-79DF-2E1D-D1A2254C8BC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452D84-6130-419F-48AB-37E11F14A2A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pPr/>
              <a:t>19</a:t>
            </a:fld>
            <a:endParaRPr lang="en-GB"/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41BF05E5-FA2A-ACE7-69D0-0DB041AB91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969" y="1152525"/>
            <a:ext cx="4081788" cy="300037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FE31641-14F1-309A-D72F-0931C5E34ADB}"/>
              </a:ext>
            </a:extLst>
          </p:cNvPr>
          <p:cNvSpPr txBox="1"/>
          <p:nvPr/>
        </p:nvSpPr>
        <p:spPr>
          <a:xfrm>
            <a:off x="4611686" y="1154596"/>
            <a:ext cx="4124101" cy="221680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noAutofit/>
          </a:bodyPr>
          <a:lstStyle/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  <a:cs typeface="Tietoevry Sans 1"/>
              </a:rPr>
              <a:t>Data deles </a:t>
            </a:r>
            <a:r>
              <a:rPr lang="en-US" sz="1600" err="1">
                <a:solidFill>
                  <a:schemeClr val="accent1"/>
                </a:solidFill>
                <a:cs typeface="Tietoevry Sans 1"/>
              </a:rPr>
              <a:t>ikke</a:t>
            </a:r>
            <a:r>
              <a:rPr lang="en-US" sz="1600">
                <a:solidFill>
                  <a:schemeClr val="accent1"/>
                </a:solidFill>
                <a:cs typeface="Tietoevry Sans 1"/>
              </a:rPr>
              <a:t> med OpenAI</a:t>
            </a:r>
            <a:endParaRPr lang="en-US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0939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F01B46-4549-BC05-13D7-EBF472F1C2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1">
            <a:extLst>
              <a:ext uri="{FF2B5EF4-FFF2-40B4-BE49-F238E27FC236}">
                <a16:creationId xmlns:a16="http://schemas.microsoft.com/office/drawing/2014/main" id="{69461B14-9BAA-9FE0-541B-4269E8D63E70}"/>
              </a:ext>
            </a:extLst>
          </p:cNvPr>
          <p:cNvSpPr/>
          <p:nvPr/>
        </p:nvSpPr>
        <p:spPr>
          <a:xfrm>
            <a:off x="213872" y="119435"/>
            <a:ext cx="5129635" cy="867966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defTabSz="571500">
              <a:lnSpc>
                <a:spcPts val="3417"/>
              </a:lnSpc>
              <a:defRPr/>
            </a:pP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ietoevry Public 360</a:t>
            </a:r>
            <a:r>
              <a:rPr lang="en-US" sz="20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°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endParaRPr lang="en-US" sz="20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571500">
              <a:lnSpc>
                <a:spcPts val="3417"/>
              </a:lnSpc>
              <a:defRPr/>
            </a:pPr>
            <a:r>
              <a:rPr lang="en-US" sz="16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dukt</a:t>
            </a: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</a:t>
            </a:r>
          </a:p>
          <a:p>
            <a:pPr defTabSz="571500">
              <a:defRPr/>
            </a:pPr>
            <a:r>
              <a:rPr lang="nb-NO" sz="2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andard programvare for </a:t>
            </a:r>
            <a:br>
              <a:rPr lang="nb-NO" sz="2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nb-NO" sz="2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fentlig forvaltning (sak og arkiv)</a:t>
            </a:r>
            <a:br>
              <a:rPr lang="nb-NO" sz="2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endParaRPr lang="nb-NO" sz="20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defTabSz="571500">
              <a:lnSpc>
                <a:spcPts val="3417"/>
              </a:lnSpc>
              <a:defRPr/>
            </a:pPr>
            <a:r>
              <a:rPr lang="en-US" sz="1600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mbisjon</a:t>
            </a: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defTabSz="571500">
              <a:defRPr/>
            </a:pPr>
            <a:r>
              <a:rPr lang="en-US" sz="2000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rbedre</a:t>
            </a:r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rdiske</a:t>
            </a:r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orgernes</a:t>
            </a:r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vekår</a:t>
            </a:r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g</a:t>
            </a:r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ebidshverdag</a:t>
            </a:r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il</a:t>
            </a:r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fentlige</a:t>
            </a:r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satte</a:t>
            </a:r>
            <a:endParaRPr lang="en-US" sz="20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Shape 4">
            <a:extLst>
              <a:ext uri="{FF2B5EF4-FFF2-40B4-BE49-F238E27FC236}">
                <a16:creationId xmlns:a16="http://schemas.microsoft.com/office/drawing/2014/main" id="{80ABE5BF-5B9A-401B-56C5-F29400981264}"/>
              </a:ext>
            </a:extLst>
          </p:cNvPr>
          <p:cNvSpPr/>
          <p:nvPr/>
        </p:nvSpPr>
        <p:spPr>
          <a:xfrm>
            <a:off x="343582" y="3959240"/>
            <a:ext cx="1777716" cy="829022"/>
          </a:xfrm>
          <a:prstGeom prst="roundRect">
            <a:avLst>
              <a:gd name="adj" fmla="val 20000"/>
            </a:avLst>
          </a:prstGeom>
          <a:noFill/>
          <a:ln w="13811">
            <a:solidFill>
              <a:srgbClr val="99DDFF"/>
            </a:solidFill>
            <a:prstDash val="solid"/>
          </a:ln>
        </p:spPr>
        <p:txBody>
          <a:bodyPr lIns="72000" tIns="36000" rIns="72000" anchor="ctr"/>
          <a:lstStyle/>
          <a:p>
            <a:pPr lvl="0" algn="ctr" defTabSz="571500">
              <a:defRPr/>
            </a:pPr>
            <a:r>
              <a:rPr lang="en-GB" b="1" kern="0" dirty="0">
                <a:solidFill>
                  <a:schemeClr val="bg1">
                    <a:lumMod val="95000"/>
                  </a:schemeClr>
                </a:solidFill>
                <a:latin typeface="Calibri" panose="020F0502020204030204"/>
              </a:rPr>
              <a:t>550 </a:t>
            </a:r>
            <a:r>
              <a:rPr lang="en-GB" b="1" kern="0" dirty="0" err="1">
                <a:solidFill>
                  <a:schemeClr val="bg1">
                    <a:lumMod val="95000"/>
                  </a:schemeClr>
                </a:solidFill>
                <a:latin typeface="Calibri" panose="020F0502020204030204"/>
              </a:rPr>
              <a:t>offentlige</a:t>
            </a:r>
            <a:r>
              <a:rPr lang="en-GB" b="1" kern="0" dirty="0">
                <a:solidFill>
                  <a:schemeClr val="bg1">
                    <a:lumMod val="95000"/>
                  </a:schemeClr>
                </a:solidFill>
                <a:latin typeface="Calibri" panose="020F0502020204030204"/>
              </a:rPr>
              <a:t> </a:t>
            </a:r>
            <a:r>
              <a:rPr lang="en-GB" b="1" kern="0" dirty="0" err="1">
                <a:solidFill>
                  <a:schemeClr val="bg1">
                    <a:lumMod val="95000"/>
                  </a:schemeClr>
                </a:solidFill>
                <a:latin typeface="Calibri" panose="020F0502020204030204"/>
              </a:rPr>
              <a:t>kunder</a:t>
            </a:r>
            <a:r>
              <a:rPr lang="en-GB" b="1" kern="0" dirty="0">
                <a:solidFill>
                  <a:schemeClr val="bg1">
                    <a:lumMod val="95000"/>
                  </a:schemeClr>
                </a:solidFill>
                <a:latin typeface="Calibri" panose="020F0502020204030204"/>
              </a:rPr>
              <a:t> </a:t>
            </a:r>
            <a:r>
              <a:rPr lang="en-GB" b="1" kern="0" dirty="0" err="1">
                <a:solidFill>
                  <a:schemeClr val="bg1">
                    <a:lumMod val="95000"/>
                  </a:schemeClr>
                </a:solidFill>
                <a:latin typeface="Calibri" panose="020F0502020204030204"/>
              </a:rPr>
              <a:t>i</a:t>
            </a:r>
            <a:r>
              <a:rPr lang="en-GB" b="1" kern="0" dirty="0">
                <a:solidFill>
                  <a:schemeClr val="bg1">
                    <a:lumMod val="95000"/>
                  </a:schemeClr>
                </a:solidFill>
                <a:latin typeface="Calibri" panose="020F0502020204030204"/>
              </a:rPr>
              <a:t> </a:t>
            </a:r>
            <a:r>
              <a:rPr lang="en-GB" b="1" kern="0" dirty="0" err="1">
                <a:solidFill>
                  <a:schemeClr val="bg1">
                    <a:lumMod val="95000"/>
                  </a:schemeClr>
                </a:solidFill>
                <a:latin typeface="Calibri" panose="020F0502020204030204"/>
              </a:rPr>
              <a:t>norden</a:t>
            </a:r>
            <a:endParaRPr kumimoji="0" lang="en-GB" sz="105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" name="Shape 4">
            <a:extLst>
              <a:ext uri="{FF2B5EF4-FFF2-40B4-BE49-F238E27FC236}">
                <a16:creationId xmlns:a16="http://schemas.microsoft.com/office/drawing/2014/main" id="{FAD74B31-65E6-ED0F-D80A-2A72C248F59A}"/>
              </a:ext>
            </a:extLst>
          </p:cNvPr>
          <p:cNvSpPr/>
          <p:nvPr/>
        </p:nvSpPr>
        <p:spPr>
          <a:xfrm>
            <a:off x="4518362" y="3959240"/>
            <a:ext cx="1777716" cy="829022"/>
          </a:xfrm>
          <a:prstGeom prst="roundRect">
            <a:avLst>
              <a:gd name="adj" fmla="val 20000"/>
            </a:avLst>
          </a:prstGeom>
          <a:noFill/>
          <a:ln w="13811">
            <a:solidFill>
              <a:srgbClr val="99DDFF"/>
            </a:solidFill>
            <a:prstDash val="solid"/>
          </a:ln>
        </p:spPr>
        <p:txBody>
          <a:bodyPr anchor="ctr"/>
          <a:lstStyle/>
          <a:p>
            <a:pPr marL="0" marR="0" lvl="0" indent="0" algn="ctr" defTabSz="571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</a:rPr>
              <a:t>400 </a:t>
            </a:r>
            <a:br>
              <a:rPr kumimoji="0" lang="en-GB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</a:rPr>
            </a:br>
            <a:r>
              <a:rPr kumimoji="0" lang="en-GB" b="1" i="0" u="none" strike="noStrike" kern="0" cap="none" spc="0" normalizeH="0" baseline="0" noProof="0" dirty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</a:rPr>
              <a:t>ansatte</a:t>
            </a:r>
            <a:endParaRPr kumimoji="0" lang="en-GB" sz="105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8" name="Shape 4">
            <a:extLst>
              <a:ext uri="{FF2B5EF4-FFF2-40B4-BE49-F238E27FC236}">
                <a16:creationId xmlns:a16="http://schemas.microsoft.com/office/drawing/2014/main" id="{453EF9EC-8129-492F-9F45-6D8ED9E4D437}"/>
              </a:ext>
            </a:extLst>
          </p:cNvPr>
          <p:cNvSpPr/>
          <p:nvPr/>
        </p:nvSpPr>
        <p:spPr>
          <a:xfrm>
            <a:off x="2430972" y="3959240"/>
            <a:ext cx="1777716" cy="829022"/>
          </a:xfrm>
          <a:prstGeom prst="roundRect">
            <a:avLst>
              <a:gd name="adj" fmla="val 20000"/>
            </a:avLst>
          </a:prstGeom>
          <a:noFill/>
          <a:ln w="13811">
            <a:solidFill>
              <a:srgbClr val="99DDFF"/>
            </a:solidFill>
            <a:prstDash val="solid"/>
          </a:ln>
        </p:spPr>
        <p:txBody>
          <a:bodyPr anchor="ctr"/>
          <a:lstStyle/>
          <a:p>
            <a:pPr marL="0" marR="0" lvl="0" indent="0" algn="ctr" defTabSz="5715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</a:rPr>
              <a:t>250 000 </a:t>
            </a:r>
            <a:r>
              <a:rPr kumimoji="0" lang="en-GB" b="1" i="0" u="none" strike="noStrike" kern="0" cap="none" spc="0" normalizeH="0" baseline="0" noProof="0" dirty="0" err="1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 panose="020F0502020204030204"/>
              </a:rPr>
              <a:t>brukere</a:t>
            </a:r>
            <a:endParaRPr kumimoji="0" lang="en-GB" sz="105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Calibri" panose="020F0502020204030204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8CB9EF5-8907-1401-F93D-BD6EE05F6115}"/>
              </a:ext>
            </a:extLst>
          </p:cNvPr>
          <p:cNvGrpSpPr/>
          <p:nvPr/>
        </p:nvGrpSpPr>
        <p:grpSpPr>
          <a:xfrm>
            <a:off x="4892407" y="220720"/>
            <a:ext cx="2296405" cy="1857197"/>
            <a:chOff x="5151377" y="1772457"/>
            <a:chExt cx="4713003" cy="2995607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9600A524-A72F-F4B2-E5B6-666A4BEF479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6851">
              <a:off x="5151377" y="1772457"/>
              <a:ext cx="3050730" cy="2995607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1D7D070-D72C-5045-8170-ABFA959CCAFB}"/>
                </a:ext>
              </a:extLst>
            </p:cNvPr>
            <p:cNvSpPr txBox="1"/>
            <p:nvPr/>
          </p:nvSpPr>
          <p:spPr>
            <a:xfrm>
              <a:off x="9102067" y="2657657"/>
              <a:ext cx="762313" cy="3514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559878">
                <a:defRPr/>
              </a:pPr>
              <a:endParaRPr lang="da-DK" sz="816" kern="0">
                <a:solidFill>
                  <a:srgbClr val="FFFFFF"/>
                </a:solidFill>
                <a:latin typeface="Arial"/>
              </a:endParaRPr>
            </a:p>
          </p:txBody>
        </p:sp>
      </p:grpSp>
      <p:pic>
        <p:nvPicPr>
          <p:cNvPr id="12" name="Image 1" descr="preencoded.png">
            <a:extLst>
              <a:ext uri="{FF2B5EF4-FFF2-40B4-BE49-F238E27FC236}">
                <a16:creationId xmlns:a16="http://schemas.microsoft.com/office/drawing/2014/main" id="{AE34F740-E69E-2489-B1D3-4F90FB35BC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5752" y="0"/>
            <a:ext cx="2538248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0921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8EEFE5-30BC-964D-CAEE-5184E833AE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BDA05B-3A79-B057-71D6-06A18DB58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dere HelpCha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D713651-3CAD-7241-7F78-97DA5442C00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03A348-AF19-C82D-C5FA-0F0B7ED29A2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pPr/>
              <a:t>20</a:t>
            </a:fld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1280727-379E-CD95-2757-F83E76BC0C81}"/>
              </a:ext>
            </a:extLst>
          </p:cNvPr>
          <p:cNvSpPr txBox="1"/>
          <p:nvPr/>
        </p:nvSpPr>
        <p:spPr>
          <a:xfrm>
            <a:off x="287336" y="1140309"/>
            <a:ext cx="6191026" cy="346934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noAutofit/>
          </a:bodyPr>
          <a:lstStyle/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en-US" sz="1600" err="1">
                <a:solidFill>
                  <a:schemeClr val="accent1"/>
                </a:solidFill>
                <a:cs typeface="Tietoevry Sans 1"/>
              </a:rPr>
              <a:t>Skalere</a:t>
            </a:r>
            <a:r>
              <a:rPr lang="en-US" sz="1600">
                <a:solidFill>
                  <a:schemeClr val="accent1"/>
                </a:solidFill>
                <a:cs typeface="Tietoevry Sans 1"/>
              </a:rPr>
              <a:t> </a:t>
            </a:r>
            <a:r>
              <a:rPr lang="en-US" sz="1600" err="1">
                <a:solidFill>
                  <a:schemeClr val="accent1"/>
                </a:solidFill>
                <a:cs typeface="Tietoevry Sans 1"/>
              </a:rPr>
              <a:t>til</a:t>
            </a:r>
            <a:r>
              <a:rPr lang="en-US" sz="1600">
                <a:solidFill>
                  <a:schemeClr val="accent1"/>
                </a:solidFill>
                <a:cs typeface="Tietoevry Sans 1"/>
              </a:rPr>
              <a:t> mange </a:t>
            </a:r>
            <a:r>
              <a:rPr lang="en-US" sz="1600" err="1">
                <a:solidFill>
                  <a:schemeClr val="accent1"/>
                </a:solidFill>
                <a:cs typeface="Tietoevry Sans 1"/>
              </a:rPr>
              <a:t>brukere</a:t>
            </a:r>
            <a:endParaRPr lang="en-US" sz="1600">
              <a:solidFill>
                <a:schemeClr val="accent1"/>
              </a:solidFill>
              <a:cs typeface="Tietoevry Sans 1"/>
            </a:endParaRPr>
          </a:p>
          <a:p>
            <a:pPr marL="742950" lvl="1" indent="-285750">
              <a:buFont typeface="Arial,Sans-Serif" panose="020B0604020202020204" pitchFamily="34" charset="0"/>
              <a:buChar char="•"/>
            </a:pPr>
            <a:r>
              <a:rPr lang="en-US" sz="1200" err="1">
                <a:solidFill>
                  <a:schemeClr val="accent1"/>
                </a:solidFill>
                <a:cs typeface="Tietoevry Sans 1"/>
              </a:rPr>
              <a:t>Parallellisering</a:t>
            </a:r>
            <a:endParaRPr lang="en-US" sz="1200">
              <a:solidFill>
                <a:schemeClr val="accent1"/>
              </a:solidFill>
              <a:cs typeface="Tietoevry Sans 1"/>
            </a:endParaRPr>
          </a:p>
          <a:p>
            <a:pPr marL="742950" lvl="1" indent="-285750">
              <a:buFont typeface="Arial,Sans-Serif" panose="020B0604020202020204" pitchFamily="34" charset="0"/>
              <a:buChar char="•"/>
            </a:pPr>
            <a:r>
              <a:rPr lang="en-US" sz="1200" err="1">
                <a:solidFill>
                  <a:schemeClr val="accent1"/>
                </a:solidFill>
                <a:cs typeface="Tietoevry Sans 1"/>
              </a:rPr>
              <a:t>Kostnad</a:t>
            </a:r>
            <a:endParaRPr lang="en-US" err="1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Rask </a:t>
            </a:r>
            <a:r>
              <a:rPr lang="en-US" sz="1600" err="1">
                <a:solidFill>
                  <a:schemeClr val="accent1"/>
                </a:solidFill>
              </a:rPr>
              <a:t>eller</a:t>
            </a:r>
            <a:r>
              <a:rPr lang="en-US" sz="1600">
                <a:solidFill>
                  <a:schemeClr val="accent1"/>
                </a:solidFill>
              </a:rPr>
              <a:t> </a:t>
            </a:r>
            <a:r>
              <a:rPr lang="en-US" sz="1600" err="1">
                <a:solidFill>
                  <a:schemeClr val="accent1"/>
                </a:solidFill>
              </a:rPr>
              <a:t>grundig</a:t>
            </a:r>
            <a:r>
              <a:rPr lang="en-US" sz="1600">
                <a:solidFill>
                  <a:schemeClr val="accent1"/>
                </a:solidFill>
              </a:rPr>
              <a:t> </a:t>
            </a:r>
            <a:r>
              <a:rPr lang="en-US" sz="1600" err="1">
                <a:solidFill>
                  <a:schemeClr val="accent1"/>
                </a:solidFill>
              </a:rPr>
              <a:t>respons</a:t>
            </a:r>
            <a:endParaRPr lang="en-US" sz="1600" err="1">
              <a:solidFill>
                <a:schemeClr val="accent1"/>
              </a:solidFill>
              <a:cs typeface="Tietoevry Sans 1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Stream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Agent-</a:t>
            </a:r>
            <a:r>
              <a:rPr lang="en-US" sz="1200" err="1">
                <a:solidFill>
                  <a:schemeClr val="accent1"/>
                </a:solidFill>
              </a:rPr>
              <a:t>mekanismer</a:t>
            </a:r>
            <a:r>
              <a:rPr lang="en-US" sz="1200">
                <a:solidFill>
                  <a:schemeClr val="accent1"/>
                </a:solidFill>
              </a:rPr>
              <a:t> (</a:t>
            </a:r>
            <a:r>
              <a:rPr lang="en-US" sz="1200" err="1">
                <a:solidFill>
                  <a:schemeClr val="accent1"/>
                </a:solidFill>
              </a:rPr>
              <a:t>evaluering</a:t>
            </a:r>
            <a:r>
              <a:rPr lang="en-US" sz="1200">
                <a:solidFill>
                  <a:schemeClr val="accent1"/>
                </a:solidFill>
              </a:rPr>
              <a:t>, </a:t>
            </a:r>
            <a:r>
              <a:rPr lang="en-US" sz="1200" err="1">
                <a:solidFill>
                  <a:schemeClr val="accent1"/>
                </a:solidFill>
              </a:rPr>
              <a:t>korrigering</a:t>
            </a:r>
            <a:r>
              <a:rPr lang="en-US" sz="1200">
                <a:solidFill>
                  <a:schemeClr val="accent1"/>
                </a:solidFill>
              </a:rPr>
              <a:t>)</a:t>
            </a:r>
            <a:endParaRPr lang="en-US" sz="1200">
              <a:solidFill>
                <a:schemeClr val="accent1"/>
              </a:solidFill>
              <a:cs typeface="Tietoevry Sans 1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accent1"/>
                </a:solidFill>
              </a:rPr>
              <a:t>LLMOps</a:t>
            </a:r>
            <a:endParaRPr lang="en-US" sz="1600" err="1">
              <a:solidFill>
                <a:schemeClr val="accent1"/>
              </a:solidFill>
              <a:cs typeface="Tietoevry Sans 1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accent1"/>
                </a:solidFill>
              </a:rPr>
              <a:t>Azure Prompt Flow</a:t>
            </a:r>
            <a:endParaRPr lang="en-US" sz="1200">
              <a:solidFill>
                <a:schemeClr val="accent1"/>
              </a:solidFill>
              <a:cs typeface="Tietoevry Sans 1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err="1">
                <a:solidFill>
                  <a:schemeClr val="accent1"/>
                </a:solidFill>
              </a:rPr>
              <a:t>Langsmith</a:t>
            </a:r>
            <a:endParaRPr lang="en-US" sz="1200" err="1">
              <a:solidFill>
                <a:schemeClr val="accent1"/>
              </a:solidFill>
              <a:cs typeface="Tietoevry Sans 1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Guard rails</a:t>
            </a:r>
            <a:endParaRPr lang="en-US" sz="1600">
              <a:solidFill>
                <a:schemeClr val="accent1"/>
              </a:solidFill>
              <a:cs typeface="Tietoevry Sans 1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Copilot (?)</a:t>
            </a:r>
            <a:endParaRPr lang="en-US" sz="1600" err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8235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B84969-9070-4FF8-CF55-07269E8BD1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24EB9B-AFD0-07A8-5C6A-3F0A2A05F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ndre anvendels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9F8483-79B4-013E-10F4-38ECBDBF025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191FFC-04FB-A41D-7E98-50D5AB45FDA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pPr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40051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1D45B3-503B-AE52-E8EA-7A1E72B5E6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Arkitektur</a:t>
            </a:r>
            <a:r>
              <a:rPr lang="en-US"/>
              <a:t>: LLM </a:t>
            </a:r>
            <a:r>
              <a:rPr lang="en-US" err="1"/>
              <a:t>som</a:t>
            </a:r>
            <a:r>
              <a:rPr lang="en-US"/>
              <a:t> del av ML-model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1648663-3FB2-79DF-2E1D-D1A2254C8BC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452D84-6130-419F-48AB-37E11F14A2A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pPr/>
              <a:t>22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4C48E21-74C1-7A48-BF5C-0E85748B63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2829" y="1170450"/>
            <a:ext cx="4576292" cy="3269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37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1B3CED-D26F-2859-BF2F-EA659EE113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B9E2C4-A35B-D11C-A4D5-EFFB1D5A27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enerere syntetiske data (sensitive helsedata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987211-2B5F-CC40-A83B-FE3B899E2C8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A5DD3F-24C4-4D66-156E-AE77B9D8DEE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pPr/>
              <a:t>23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D93E8A-4890-203A-4DFA-8B868E483A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896" y="1103314"/>
            <a:ext cx="6419139" cy="52535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B8219B6-C56C-6CE3-E9E8-4F319FDE57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7117" y="2071613"/>
            <a:ext cx="4803854" cy="5253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2A9F6C0-0461-6F34-C5D9-E1F6A55DCB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0986" y="3071887"/>
            <a:ext cx="4138312" cy="612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0847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5898B4-F042-01CB-2BED-0759FF5DFD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6F74CB-2717-C7B5-F53F-BAEF947FB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rukturert output (function calling/tool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ECC308-9C17-A48E-6D67-3875427C30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7D1D4D-055A-C50D-BCB9-15FBA4D821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pPr/>
              <a:t>24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455A1C5-D093-25FF-C51B-BEF8298387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336" y="654048"/>
            <a:ext cx="4394224" cy="274508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79430A2-7D42-18AC-6E5B-ACCE1FE41A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123" y="1098209"/>
            <a:ext cx="7697477" cy="39068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0C87001-4C8F-64B4-E83B-478AE2560B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31324" y="827625"/>
            <a:ext cx="2780553" cy="3770998"/>
          </a:xfrm>
          <a:prstGeom prst="rect">
            <a:avLst/>
          </a:prstGeom>
          <a:ln>
            <a:solidFill>
              <a:schemeClr val="accent4"/>
            </a:solidFill>
          </a:ln>
        </p:spPr>
      </p:pic>
    </p:spTree>
    <p:extLst>
      <p:ext uri="{BB962C8B-B14F-4D97-AF65-F5344CB8AC3E}">
        <p14:creationId xmlns:p14="http://schemas.microsoft.com/office/powerpoint/2010/main" val="250700472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134E0E-FD3E-615A-78DA-49A2CE4468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255A2F-D075-0A6E-1EE5-7ED5D04FD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nvendelser av LL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649120-A9DB-5920-7059-B1546747CF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4605D6-4E19-1940-424A-57CE3222D2A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1E25E67-CBB9-434B-BBF7-0A5E970272B8}" type="slidenum">
              <a:rPr lang="en-GB" smtClean="0"/>
              <a:pPr/>
              <a:t>25</a:t>
            </a:fld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1CE002-E2EB-12B2-BEAF-528E60AFFFBB}"/>
              </a:ext>
            </a:extLst>
          </p:cNvPr>
          <p:cNvSpPr txBox="1"/>
          <p:nvPr/>
        </p:nvSpPr>
        <p:spPr>
          <a:xfrm>
            <a:off x="287336" y="1140309"/>
            <a:ext cx="6191026" cy="3469341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Syntetiske data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Finne falske negativer for klassisk ML-modell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Angi om en kontekst er generell eller privat (sensitiv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Effektivisering i salgsprosess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RFP (“request for proposal”/forespørsel om forsla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SQL-søk basert på naturlig språ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accent1"/>
                </a:solidFill>
              </a:rPr>
              <a:t>...</a:t>
            </a:r>
            <a:endParaRPr lang="en-US" sz="1600" err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0052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EDAE82F-10AC-43F1-BDFF-AF3D2C1437F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/>
              <a:t>Takk</a:t>
            </a:r>
            <a:r>
              <a:rPr lang="en-GB" dirty="0"/>
              <a:t>!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532723A-33BB-4444-9CFE-7EA163348F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BB1B80B-8F25-450F-811C-0D414DFA893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6253578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C860192-BA2E-EA5F-6A09-E1355CAFD99D}"/>
              </a:ext>
            </a:extLst>
          </p:cNvPr>
          <p:cNvSpPr/>
          <p:nvPr/>
        </p:nvSpPr>
        <p:spPr>
          <a:xfrm>
            <a:off x="0" y="1116490"/>
            <a:ext cx="9144000" cy="3597752"/>
          </a:xfrm>
          <a:prstGeom prst="rect">
            <a:avLst/>
          </a:prstGeom>
          <a:solidFill>
            <a:srgbClr val="E7E9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LV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etoevry Sans 1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29A1133-1D97-6556-5850-D7EE2D5273E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792" r="7536"/>
          <a:stretch/>
        </p:blipFill>
        <p:spPr>
          <a:xfrm>
            <a:off x="2429662" y="394299"/>
            <a:ext cx="2141229" cy="179310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51A2434-5FF2-408E-45F1-34A004A1719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773" b="8962"/>
          <a:stretch/>
        </p:blipFill>
        <p:spPr>
          <a:xfrm>
            <a:off x="286969" y="396433"/>
            <a:ext cx="2145646" cy="17931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5330E55-EE75-C36F-0AB0-E9D155E33DF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012" t="22391" r="20151" b="2885"/>
          <a:stretch/>
        </p:blipFill>
        <p:spPr>
          <a:xfrm>
            <a:off x="4566794" y="394300"/>
            <a:ext cx="2133822" cy="17931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AC06EA4-4FD4-A584-B8D9-8524B84F17D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5902"/>
          <a:stretch/>
        </p:blipFill>
        <p:spPr>
          <a:xfrm>
            <a:off x="6700618" y="394300"/>
            <a:ext cx="2156414" cy="179310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2833FB-89A9-3923-A2BF-BE8E8E4562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Tietoevry Sans 1"/>
                <a:ea typeface="+mn-ea"/>
                <a:cs typeface="+mn-cs"/>
              </a:rPr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EF18B4-E471-60C9-D684-474346C7261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E25E67-CBB9-434B-BBF7-0A5E970272B8}" type="slidenum"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Tietoevry Sans 1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BEBEBE"/>
              </a:solidFill>
              <a:effectLst/>
              <a:uLnTx/>
              <a:uFillTx/>
              <a:latin typeface="Tietoevry Sans 1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B95AA09-F652-856F-E872-333ACDD8B993}"/>
              </a:ext>
            </a:extLst>
          </p:cNvPr>
          <p:cNvSpPr/>
          <p:nvPr/>
        </p:nvSpPr>
        <p:spPr>
          <a:xfrm>
            <a:off x="287336" y="7208071"/>
            <a:ext cx="6234141" cy="359775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LV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etoevry Sans 1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88EAAA-D85B-6553-ACFC-E3FF504348AD}"/>
              </a:ext>
            </a:extLst>
          </p:cNvPr>
          <p:cNvSpPr txBox="1"/>
          <p:nvPr/>
        </p:nvSpPr>
        <p:spPr>
          <a:xfrm>
            <a:off x="492759" y="2384034"/>
            <a:ext cx="1753914" cy="892745"/>
          </a:xfrm>
          <a:prstGeom prst="rect">
            <a:avLst/>
          </a:prstGeom>
          <a:noFill/>
        </p:spPr>
        <p:txBody>
          <a:bodyPr wrap="square" lIns="0" tIns="62400" rIns="0" bIns="0" rtlCol="0"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280071"/>
                </a:solidFill>
                <a:effectLst/>
                <a:uLnTx/>
                <a:uFillTx/>
                <a:latin typeface="Tietoevry Sans 1 Light"/>
                <a:ea typeface="+mn-ea"/>
                <a:cs typeface="+mn-cs"/>
              </a:rPr>
              <a:t>1</a:t>
            </a:r>
            <a:r>
              <a:rPr kumimoji="0" lang="en-US" sz="3200" b="0" i="0" u="none" strike="noStrike" kern="1200" cap="none" spc="0" normalizeH="0" baseline="30000" noProof="0">
                <a:ln>
                  <a:noFill/>
                </a:ln>
                <a:solidFill>
                  <a:srgbClr val="280071"/>
                </a:solidFill>
                <a:effectLst/>
                <a:uLnTx/>
                <a:uFillTx/>
                <a:latin typeface="Tietoevry Sans 1 Light"/>
                <a:ea typeface="+mn-ea"/>
                <a:cs typeface="+mn-cs"/>
              </a:rPr>
              <a:t>st</a:t>
            </a: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280071"/>
                </a:solidFill>
                <a:effectLst/>
                <a:uLnTx/>
                <a:uFillTx/>
                <a:latin typeface="Tietoevry Sans 1 Light"/>
                <a:ea typeface="+mn-ea"/>
                <a:cs typeface="+mn-cs"/>
              </a:rPr>
              <a:t> </a:t>
            </a: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25" b="1" i="0" u="none" strike="noStrike" kern="1200" cap="none" spc="0" normalizeH="0" baseline="0" noProof="0">
                <a:ln>
                  <a:noFill/>
                </a:ln>
                <a:solidFill>
                  <a:srgbClr val="280071"/>
                </a:solidFill>
                <a:effectLst/>
                <a:uLnTx/>
                <a:uFillTx/>
                <a:latin typeface="Tietoevry Sans 1"/>
                <a:ea typeface="+mn-ea"/>
                <a:cs typeface="+mn-cs"/>
              </a:rPr>
              <a:t>Archive Inspector </a:t>
            </a:r>
            <a:r>
              <a:rPr kumimoji="0" lang="en-US" sz="1125" b="0" i="0" u="none" strike="noStrike" kern="1200" cap="none" spc="0" normalizeH="0" baseline="0" noProof="0">
                <a:ln>
                  <a:noFill/>
                </a:ln>
                <a:solidFill>
                  <a:srgbClr val="280071"/>
                </a:solidFill>
                <a:effectLst/>
                <a:uLnTx/>
                <a:uFillTx/>
                <a:latin typeface="Tietoevry Sans 1 Light"/>
                <a:ea typeface="+mn-ea"/>
                <a:cs typeface="+mn-cs"/>
              </a:rPr>
              <a:t>is the first AI-driven standard module for the public services in Norway in 2022.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18DC96A-EB3B-DFAA-6B95-A9E8FF608D8A}"/>
              </a:ext>
            </a:extLst>
          </p:cNvPr>
          <p:cNvCxnSpPr>
            <a:cxnSpLocks/>
          </p:cNvCxnSpPr>
          <p:nvPr/>
        </p:nvCxnSpPr>
        <p:spPr>
          <a:xfrm>
            <a:off x="6700618" y="2513868"/>
            <a:ext cx="15685" cy="1536340"/>
          </a:xfrm>
          <a:prstGeom prst="line">
            <a:avLst/>
          </a:prstGeom>
          <a:ln w="63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A6970FC-58D4-AA06-0661-96B084CE2812}"/>
              </a:ext>
            </a:extLst>
          </p:cNvPr>
          <p:cNvCxnSpPr>
            <a:cxnSpLocks/>
          </p:cNvCxnSpPr>
          <p:nvPr/>
        </p:nvCxnSpPr>
        <p:spPr>
          <a:xfrm flipH="1">
            <a:off x="12996416" y="7999677"/>
            <a:ext cx="4" cy="1536340"/>
          </a:xfrm>
          <a:prstGeom prst="line">
            <a:avLst/>
          </a:prstGeom>
          <a:ln w="6350" cap="rnd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1333899-0FFF-8E46-34F3-D9F68EFF24B6}"/>
              </a:ext>
            </a:extLst>
          </p:cNvPr>
          <p:cNvCxnSpPr>
            <a:cxnSpLocks/>
          </p:cNvCxnSpPr>
          <p:nvPr/>
        </p:nvCxnSpPr>
        <p:spPr>
          <a:xfrm>
            <a:off x="15079043" y="7999677"/>
            <a:ext cx="0" cy="1536340"/>
          </a:xfrm>
          <a:prstGeom prst="line">
            <a:avLst/>
          </a:prstGeom>
          <a:ln w="6350" cap="rnd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FEC22BA-485F-64DF-FC5E-2B10EFE1A90D}"/>
              </a:ext>
            </a:extLst>
          </p:cNvPr>
          <p:cNvSpPr txBox="1"/>
          <p:nvPr/>
        </p:nvSpPr>
        <p:spPr>
          <a:xfrm>
            <a:off x="2624152" y="2384034"/>
            <a:ext cx="1683860" cy="892745"/>
          </a:xfrm>
          <a:prstGeom prst="rect">
            <a:avLst/>
          </a:prstGeom>
          <a:noFill/>
        </p:spPr>
        <p:txBody>
          <a:bodyPr wrap="square" lIns="0" tIns="62400" rIns="0" bIns="0" rtlCol="0"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280071"/>
                </a:solidFill>
                <a:effectLst/>
                <a:uLnTx/>
                <a:uFillTx/>
                <a:latin typeface="Tietoevry Sans 1 Light"/>
                <a:ea typeface="+mn-ea"/>
                <a:cs typeface="+mn-cs"/>
              </a:rPr>
              <a:t>Q2 2023</a:t>
            </a: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25" b="0" i="0" u="none" strike="noStrike" kern="1200" cap="none" spc="0" normalizeH="0" baseline="0" noProof="0" dirty="0">
                <a:ln>
                  <a:noFill/>
                </a:ln>
                <a:solidFill>
                  <a:srgbClr val="280071"/>
                </a:solidFill>
                <a:effectLst/>
                <a:uLnTx/>
                <a:uFillTx/>
                <a:latin typeface="Tietoevry Sans 1 Light"/>
                <a:ea typeface="+mn-ea"/>
                <a:cs typeface="+mn-cs"/>
              </a:rPr>
              <a:t>In just 6 month did we onboard </a:t>
            </a:r>
            <a:r>
              <a:rPr kumimoji="0" lang="en-US" sz="1125" b="1" i="0" u="none" strike="noStrike" kern="1200" cap="none" spc="0" normalizeH="0" baseline="0" noProof="0" dirty="0">
                <a:ln>
                  <a:noFill/>
                </a:ln>
                <a:solidFill>
                  <a:srgbClr val="280071"/>
                </a:solidFill>
                <a:effectLst/>
                <a:uLnTx/>
                <a:uFillTx/>
                <a:latin typeface="Tietoevry Sans 1" pitchFamily="50" charset="0"/>
                <a:ea typeface="+mn-ea"/>
                <a:cs typeface="+mn-cs"/>
              </a:rPr>
              <a:t>6 customers </a:t>
            </a:r>
            <a:r>
              <a:rPr kumimoji="0" lang="en-US" sz="1125" b="0" i="0" u="none" strike="noStrike" kern="1200" cap="none" spc="0" normalizeH="0" baseline="0" noProof="0" dirty="0">
                <a:ln>
                  <a:noFill/>
                </a:ln>
                <a:solidFill>
                  <a:srgbClr val="280071"/>
                </a:solidFill>
                <a:effectLst/>
                <a:uLnTx/>
                <a:uFillTx/>
                <a:latin typeface="Tietoevry Sans 1" pitchFamily="50" charset="0"/>
                <a:ea typeface="+mn-ea"/>
                <a:cs typeface="+mn-cs"/>
              </a:rPr>
              <a:t>to the solution.</a:t>
            </a: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25" b="0" i="0" u="none" strike="noStrike" kern="1200" cap="none" spc="0" normalizeH="0" baseline="0" noProof="0" dirty="0">
                <a:ln>
                  <a:noFill/>
                </a:ln>
                <a:solidFill>
                  <a:srgbClr val="280071"/>
                </a:solidFill>
                <a:effectLst/>
                <a:uLnTx/>
                <a:uFillTx/>
                <a:latin typeface="Tietoevry Sans 1 Light"/>
                <a:ea typeface="+mn-ea"/>
                <a:cs typeface="+mn-cs"/>
              </a:rPr>
              <a:t>Module implementation of around 2 days.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E18CCD7-6697-9313-E0E1-21BE3375A95D}"/>
              </a:ext>
            </a:extLst>
          </p:cNvPr>
          <p:cNvSpPr txBox="1"/>
          <p:nvPr/>
        </p:nvSpPr>
        <p:spPr>
          <a:xfrm>
            <a:off x="4779636" y="2384034"/>
            <a:ext cx="1707011" cy="892745"/>
          </a:xfrm>
          <a:prstGeom prst="rect">
            <a:avLst/>
          </a:prstGeom>
          <a:noFill/>
        </p:spPr>
        <p:txBody>
          <a:bodyPr wrap="square" lIns="0" tIns="62400" rIns="0" bIns="0" rtlCol="0" anchor="t"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188" b="0" i="0" u="none" strike="noStrike" kern="1200" cap="none" spc="0" normalizeH="0" baseline="0" noProof="0">
                <a:ln>
                  <a:noFill/>
                </a:ln>
                <a:solidFill>
                  <a:srgbClr val="280071"/>
                </a:solidFill>
                <a:effectLst/>
                <a:uLnTx/>
                <a:uFillTx/>
                <a:latin typeface="Tietoevry Sans 1 Light"/>
                <a:ea typeface="+mn-ea"/>
                <a:cs typeface="+mn-cs"/>
              </a:rPr>
              <a:t>2 M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280071"/>
              </a:solidFill>
              <a:effectLst/>
              <a:uLnTx/>
              <a:uFillTx/>
              <a:latin typeface="Tietoevry Sans 1 Light"/>
              <a:ea typeface="+mn-ea"/>
              <a:cs typeface="+mn-cs"/>
            </a:endParaRP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25" b="0" i="0" u="none" strike="noStrike" kern="1200" cap="none" spc="0" normalizeH="0" baseline="0" noProof="0">
                <a:ln>
                  <a:noFill/>
                </a:ln>
                <a:solidFill>
                  <a:srgbClr val="280071"/>
                </a:solidFill>
                <a:effectLst/>
                <a:uLnTx/>
                <a:uFillTx/>
                <a:latin typeface="Tietoevry Sans 1 Light"/>
                <a:ea typeface="+mn-ea"/>
                <a:cs typeface="+mn-cs"/>
              </a:rPr>
              <a:t>Over 2 Million documents analyzed within the first 6 months. Protecting already </a:t>
            </a:r>
            <a:r>
              <a:rPr kumimoji="0" lang="en-US" sz="1125" b="1" i="0" u="none" strike="noStrike" kern="1200" cap="none" spc="0" normalizeH="0" baseline="0" noProof="0">
                <a:ln>
                  <a:noFill/>
                </a:ln>
                <a:solidFill>
                  <a:srgbClr val="280071"/>
                </a:solidFill>
                <a:effectLst/>
                <a:uLnTx/>
                <a:uFillTx/>
                <a:latin typeface="Tietoevry Sans 1"/>
                <a:ea typeface="+mn-ea"/>
                <a:cs typeface="+mn-cs"/>
              </a:rPr>
              <a:t>over 8% </a:t>
            </a:r>
            <a:r>
              <a:rPr kumimoji="0" lang="en-US" sz="1125" b="0" i="0" u="none" strike="noStrike" kern="1200" cap="none" spc="0" normalizeH="0" baseline="0" noProof="0">
                <a:ln>
                  <a:noFill/>
                </a:ln>
                <a:solidFill>
                  <a:srgbClr val="280071"/>
                </a:solidFill>
                <a:effectLst/>
                <a:uLnTx/>
                <a:uFillTx/>
                <a:latin typeface="Tietoevry Sans 1 Light"/>
                <a:ea typeface="+mn-ea"/>
                <a:cs typeface="+mn-cs"/>
              </a:rPr>
              <a:t>of the Norwegian population.</a:t>
            </a: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280071"/>
              </a:solidFill>
              <a:effectLst/>
              <a:uLnTx/>
              <a:uFillTx/>
              <a:latin typeface="Tietoevry Sans 1 Light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8DA1B56-5354-9FC3-948C-FA91A4CCC6B5}"/>
              </a:ext>
            </a:extLst>
          </p:cNvPr>
          <p:cNvSpPr txBox="1"/>
          <p:nvPr/>
        </p:nvSpPr>
        <p:spPr>
          <a:xfrm>
            <a:off x="6906042" y="2384034"/>
            <a:ext cx="1626646" cy="892745"/>
          </a:xfrm>
          <a:prstGeom prst="rect">
            <a:avLst/>
          </a:prstGeom>
          <a:noFill/>
        </p:spPr>
        <p:txBody>
          <a:bodyPr wrap="square" lIns="0" tIns="62400" rIns="0" bIns="0" rtlCol="0"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solidFill>
                  <a:srgbClr val="280071"/>
                </a:solidFill>
                <a:effectLst/>
                <a:uLnTx/>
                <a:uFillTx/>
                <a:latin typeface="Tietoevry Sans 1 Light"/>
                <a:ea typeface="+mn-ea"/>
                <a:cs typeface="+mn-cs"/>
              </a:rPr>
              <a:t>360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280071"/>
              </a:solidFill>
              <a:effectLst/>
              <a:uLnTx/>
              <a:uFillTx/>
              <a:latin typeface="Tietoevry Sans 1 Light"/>
              <a:ea typeface="+mn-ea"/>
              <a:cs typeface="+mn-cs"/>
            </a:endParaRPr>
          </a:p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25" b="0" i="0" u="none" strike="noStrike" kern="1200" cap="none" spc="0" normalizeH="0" baseline="0" noProof="0">
                <a:ln>
                  <a:noFill/>
                </a:ln>
                <a:solidFill>
                  <a:srgbClr val="280071"/>
                </a:solidFill>
                <a:effectLst/>
                <a:uLnTx/>
                <a:uFillTx/>
                <a:latin typeface="Tietoevry Sans 1 Light"/>
                <a:ea typeface="+mn-ea"/>
                <a:cs typeface="+mn-cs"/>
              </a:rPr>
              <a:t>Solution is in daily use and has become an important part of quality routin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B4C9766-B9DB-577B-A19A-2A9012A9298D}"/>
              </a:ext>
            </a:extLst>
          </p:cNvPr>
          <p:cNvSpPr txBox="1"/>
          <p:nvPr/>
        </p:nvSpPr>
        <p:spPr>
          <a:xfrm>
            <a:off x="5323515" y="4869000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etoevry Sans 1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30839C1-17BC-0C62-2AB1-C93167F7E479}"/>
              </a:ext>
            </a:extLst>
          </p:cNvPr>
          <p:cNvSpPr txBox="1"/>
          <p:nvPr/>
        </p:nvSpPr>
        <p:spPr>
          <a:xfrm>
            <a:off x="928375" y="4442902"/>
            <a:ext cx="7179851" cy="1615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4302F"/>
                </a:solidFill>
                <a:effectLst/>
                <a:uLnTx/>
                <a:uFillTx/>
                <a:latin typeface="Tietoevry Sans 1"/>
                <a:ea typeface="+mn-ea"/>
                <a:cs typeface="+mn-cs"/>
              </a:rPr>
              <a:t>A significant contribution to our customer's ambition of raising transparency while maintaining privacy protection for their citizens. </a:t>
            </a:r>
            <a:endParaRPr kumimoji="0" lang="nb-NO" sz="1050" b="0" i="0" u="none" strike="noStrike" kern="1200" cap="none" spc="0" normalizeH="0" baseline="0" noProof="0" dirty="0">
              <a:ln>
                <a:noFill/>
              </a:ln>
              <a:solidFill>
                <a:srgbClr val="64302F"/>
              </a:solidFill>
              <a:effectLst/>
              <a:uLnTx/>
              <a:uFillTx/>
              <a:latin typeface="Tietoevry Sans 1"/>
              <a:ea typeface="+mn-ea"/>
              <a:cs typeface="+mn-cs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AEE7242-1B9E-6C54-235B-875EBECF2A8A}"/>
              </a:ext>
            </a:extLst>
          </p:cNvPr>
          <p:cNvCxnSpPr>
            <a:cxnSpLocks/>
          </p:cNvCxnSpPr>
          <p:nvPr/>
        </p:nvCxnSpPr>
        <p:spPr>
          <a:xfrm>
            <a:off x="4566796" y="2513868"/>
            <a:ext cx="15685" cy="1536340"/>
          </a:xfrm>
          <a:prstGeom prst="line">
            <a:avLst/>
          </a:prstGeom>
          <a:ln w="63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E220E68-9CD7-150E-A110-86650AA73C74}"/>
              </a:ext>
            </a:extLst>
          </p:cNvPr>
          <p:cNvCxnSpPr>
            <a:cxnSpLocks/>
          </p:cNvCxnSpPr>
          <p:nvPr/>
        </p:nvCxnSpPr>
        <p:spPr>
          <a:xfrm>
            <a:off x="2428565" y="2513868"/>
            <a:ext cx="15685" cy="1536340"/>
          </a:xfrm>
          <a:prstGeom prst="line">
            <a:avLst/>
          </a:prstGeom>
          <a:ln w="63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780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D85554-A33B-1B40-EC4F-F8F2BA331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9" y="231774"/>
            <a:ext cx="8169540" cy="1008063"/>
          </a:xfrm>
        </p:spPr>
        <p:txBody>
          <a:bodyPr/>
          <a:lstStyle/>
          <a:p>
            <a:r>
              <a:rPr lang="nb-NO" sz="2000" dirty="0"/>
              <a:t>Hvor langt har vi egentlig kommet med digitalisering i offentlig sektor?</a:t>
            </a:r>
            <a:br>
              <a:rPr lang="nb-NO" sz="2000" dirty="0"/>
            </a:br>
            <a:endParaRPr lang="en-US" sz="2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C59534-B0DB-0790-5A44-302D8EE5F8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Tietoevry Sans 1"/>
                <a:ea typeface="+mn-ea"/>
                <a:cs typeface="+mn-cs"/>
              </a:rPr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717652-9BAE-F02D-994E-0D09D1B89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E25E67-CBB9-434B-BBF7-0A5E970272B8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Tietoevry Sans 1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BEBEBE"/>
              </a:solidFill>
              <a:effectLst/>
              <a:uLnTx/>
              <a:uFillTx/>
              <a:latin typeface="Tietoevry Sans 1"/>
              <a:ea typeface="+mn-ea"/>
              <a:cs typeface="+mn-c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42A8DB3-C189-D0F5-7413-5610870E1A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339" y="1055975"/>
            <a:ext cx="3631175" cy="3631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70633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A73B54-16C0-9272-D047-60FE6895A5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836FAA-1224-D172-2500-2226F67C6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9" y="231774"/>
            <a:ext cx="8169540" cy="1008063"/>
          </a:xfrm>
        </p:spPr>
        <p:txBody>
          <a:bodyPr/>
          <a:lstStyle/>
          <a:p>
            <a:r>
              <a:rPr lang="nb-NO" sz="2000" dirty="0"/>
              <a:t>Hvor langt har vi egentlig kommet med digitalisering i offentlig sektor?</a:t>
            </a:r>
            <a:br>
              <a:rPr lang="nb-NO" sz="2000" dirty="0"/>
            </a:br>
            <a:endParaRPr lang="en-US" sz="2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A56A26-2CA0-F5BD-9402-D7229D9E19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Tietoevry Sans 1"/>
                <a:ea typeface="+mn-ea"/>
                <a:cs typeface="+mn-cs"/>
              </a:rPr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1643DF-0E96-EC4A-E60B-960508EC04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E25E67-CBB9-434B-BBF7-0A5E970272B8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Tietoevry Sans 1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BEBEBE"/>
              </a:solidFill>
              <a:effectLst/>
              <a:uLnTx/>
              <a:uFillTx/>
              <a:latin typeface="Tietoevry Sans 1"/>
              <a:ea typeface="+mn-ea"/>
              <a:cs typeface="+mn-c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9321CD5-DE1A-80B2-50AE-8761DF4A9B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339" y="1055975"/>
            <a:ext cx="3631175" cy="3631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05C78320-AE3F-C485-545D-EDDFA7CDB8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6130" y="1055975"/>
            <a:ext cx="3631174" cy="3631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3645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D85554-A33B-1B40-EC4F-F8F2BA3317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9" y="231774"/>
            <a:ext cx="3492999" cy="1008063"/>
          </a:xfrm>
        </p:spPr>
        <p:txBody>
          <a:bodyPr/>
          <a:lstStyle/>
          <a:p>
            <a:r>
              <a:rPr lang="en-US" dirty="0" err="1"/>
              <a:t>Hva</a:t>
            </a:r>
            <a:r>
              <a:rPr lang="en-US" dirty="0"/>
              <a:t> </a:t>
            </a:r>
            <a:r>
              <a:rPr lang="en-US" dirty="0" err="1"/>
              <a:t>kan</a:t>
            </a:r>
            <a:r>
              <a:rPr lang="en-US" dirty="0"/>
              <a:t> </a:t>
            </a:r>
            <a:r>
              <a:rPr lang="en-US" dirty="0" err="1"/>
              <a:t>Generativ</a:t>
            </a:r>
            <a:r>
              <a:rPr lang="en-US" dirty="0"/>
              <a:t> KI </a:t>
            </a:r>
            <a:r>
              <a:rPr lang="en-US" dirty="0" err="1"/>
              <a:t>bidra</a:t>
            </a:r>
            <a:r>
              <a:rPr lang="en-US" dirty="0"/>
              <a:t> med her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C59534-B0DB-0790-5A44-302D8EE5F8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Tietoevry Sans 1"/>
                <a:ea typeface="+mn-ea"/>
                <a:cs typeface="+mn-cs"/>
              </a:rPr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717652-9BAE-F02D-994E-0D09D1B89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E25E67-CBB9-434B-BBF7-0A5E970272B8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Tietoevry Sans 1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BEBEBE"/>
              </a:solidFill>
              <a:effectLst/>
              <a:uLnTx/>
              <a:uFillTx/>
              <a:latin typeface="Tietoevry Sans 1"/>
              <a:ea typeface="+mn-ea"/>
              <a:cs typeface="+mn-cs"/>
            </a:endParaRPr>
          </a:p>
        </p:txBody>
      </p:sp>
      <p:pic>
        <p:nvPicPr>
          <p:cNvPr id="8" name="Picture Placeholder 10" descr="A group of people sitting on stairs&#10;&#10;Description automatically generated with medium confidence">
            <a:extLst>
              <a:ext uri="{FF2B5EF4-FFF2-40B4-BE49-F238E27FC236}">
                <a16:creationId xmlns:a16="http://schemas.microsoft.com/office/drawing/2014/main" id="{1A377050-0CCB-089F-50ED-CA18965D320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10" r="43270"/>
          <a:stretch/>
        </p:blipFill>
        <p:spPr>
          <a:xfrm>
            <a:off x="5434626" y="0"/>
            <a:ext cx="3711600" cy="5143500"/>
          </a:xfrm>
          <a:custGeom>
            <a:avLst/>
            <a:gdLst>
              <a:gd name="connsiteX0" fmla="*/ 142240 w 3708000"/>
              <a:gd name="connsiteY0" fmla="*/ 2070213 h 5143500"/>
              <a:gd name="connsiteX1" fmla="*/ 129373 w 3708000"/>
              <a:gd name="connsiteY1" fmla="*/ 2081770 h 5143500"/>
              <a:gd name="connsiteX2" fmla="*/ 129373 w 3708000"/>
              <a:gd name="connsiteY2" fmla="*/ 2081817 h 5143500"/>
              <a:gd name="connsiteX3" fmla="*/ 141900 w 3708000"/>
              <a:gd name="connsiteY3" fmla="*/ 2093986 h 5143500"/>
              <a:gd name="connsiteX4" fmla="*/ 154416 w 3708000"/>
              <a:gd name="connsiteY4" fmla="*/ 2082425 h 5143500"/>
              <a:gd name="connsiteX5" fmla="*/ 142240 w 3708000"/>
              <a:gd name="connsiteY5" fmla="*/ 2070213 h 5143500"/>
              <a:gd name="connsiteX6" fmla="*/ 142531 w 3708000"/>
              <a:gd name="connsiteY6" fmla="*/ 1765449 h 5143500"/>
              <a:gd name="connsiteX7" fmla="*/ 116798 w 3708000"/>
              <a:gd name="connsiteY7" fmla="*/ 1788657 h 5143500"/>
              <a:gd name="connsiteX8" fmla="*/ 116798 w 3708000"/>
              <a:gd name="connsiteY8" fmla="*/ 1788707 h 5143500"/>
              <a:gd name="connsiteX9" fmla="*/ 141899 w 3708000"/>
              <a:gd name="connsiteY9" fmla="*/ 1813090 h 5143500"/>
              <a:gd name="connsiteX10" fmla="*/ 166987 w 3708000"/>
              <a:gd name="connsiteY10" fmla="*/ 1789873 h 5143500"/>
              <a:gd name="connsiteX11" fmla="*/ 142531 w 3708000"/>
              <a:gd name="connsiteY11" fmla="*/ 1765449 h 5143500"/>
              <a:gd name="connsiteX12" fmla="*/ 142240 w 3708000"/>
              <a:gd name="connsiteY12" fmla="*/ 1484172 h 5143500"/>
              <a:gd name="connsiteX13" fmla="*/ 129373 w 3708000"/>
              <a:gd name="connsiteY13" fmla="*/ 1495729 h 5143500"/>
              <a:gd name="connsiteX14" fmla="*/ 129373 w 3708000"/>
              <a:gd name="connsiteY14" fmla="*/ 1495874 h 5143500"/>
              <a:gd name="connsiteX15" fmla="*/ 141899 w 3708000"/>
              <a:gd name="connsiteY15" fmla="*/ 1507945 h 5143500"/>
              <a:gd name="connsiteX16" fmla="*/ 154416 w 3708000"/>
              <a:gd name="connsiteY16" fmla="*/ 1496384 h 5143500"/>
              <a:gd name="connsiteX17" fmla="*/ 142240 w 3708000"/>
              <a:gd name="connsiteY17" fmla="*/ 1484172 h 5143500"/>
              <a:gd name="connsiteX18" fmla="*/ 142240 w 3708000"/>
              <a:gd name="connsiteY18" fmla="*/ 1191246 h 5143500"/>
              <a:gd name="connsiteX19" fmla="*/ 129373 w 3708000"/>
              <a:gd name="connsiteY19" fmla="*/ 1202803 h 5143500"/>
              <a:gd name="connsiteX20" fmla="*/ 129373 w 3708000"/>
              <a:gd name="connsiteY20" fmla="*/ 1202948 h 5143500"/>
              <a:gd name="connsiteX21" fmla="*/ 141899 w 3708000"/>
              <a:gd name="connsiteY21" fmla="*/ 1215019 h 5143500"/>
              <a:gd name="connsiteX22" fmla="*/ 154416 w 3708000"/>
              <a:gd name="connsiteY22" fmla="*/ 1203458 h 5143500"/>
              <a:gd name="connsiteX23" fmla="*/ 142240 w 3708000"/>
              <a:gd name="connsiteY23" fmla="*/ 1191246 h 5143500"/>
              <a:gd name="connsiteX24" fmla="*/ 142191 w 3708000"/>
              <a:gd name="connsiteY24" fmla="*/ 898320 h 5143500"/>
              <a:gd name="connsiteX25" fmla="*/ 129373 w 3708000"/>
              <a:gd name="connsiteY25" fmla="*/ 909924 h 5143500"/>
              <a:gd name="connsiteX26" fmla="*/ 141900 w 3708000"/>
              <a:gd name="connsiteY26" fmla="*/ 922093 h 5143500"/>
              <a:gd name="connsiteX27" fmla="*/ 154421 w 3708000"/>
              <a:gd name="connsiteY27" fmla="*/ 910486 h 5143500"/>
              <a:gd name="connsiteX28" fmla="*/ 142191 w 3708000"/>
              <a:gd name="connsiteY28" fmla="*/ 898320 h 5143500"/>
              <a:gd name="connsiteX29" fmla="*/ 142486 w 3708000"/>
              <a:gd name="connsiteY29" fmla="*/ 593738 h 5143500"/>
              <a:gd name="connsiteX30" fmla="*/ 116798 w 3708000"/>
              <a:gd name="connsiteY30" fmla="*/ 616998 h 5143500"/>
              <a:gd name="connsiteX31" fmla="*/ 141900 w 3708000"/>
              <a:gd name="connsiteY31" fmla="*/ 641384 h 5143500"/>
              <a:gd name="connsiteX32" fmla="*/ 166986 w 3708000"/>
              <a:gd name="connsiteY32" fmla="*/ 618121 h 5143500"/>
              <a:gd name="connsiteX33" fmla="*/ 142486 w 3708000"/>
              <a:gd name="connsiteY33" fmla="*/ 593738 h 5143500"/>
              <a:gd name="connsiteX34" fmla="*/ 142191 w 3708000"/>
              <a:gd name="connsiteY34" fmla="*/ 312467 h 5143500"/>
              <a:gd name="connsiteX35" fmla="*/ 129373 w 3708000"/>
              <a:gd name="connsiteY35" fmla="*/ 324071 h 5143500"/>
              <a:gd name="connsiteX36" fmla="*/ 141900 w 3708000"/>
              <a:gd name="connsiteY36" fmla="*/ 336240 h 5143500"/>
              <a:gd name="connsiteX37" fmla="*/ 154421 w 3708000"/>
              <a:gd name="connsiteY37" fmla="*/ 324633 h 5143500"/>
              <a:gd name="connsiteX38" fmla="*/ 142191 w 3708000"/>
              <a:gd name="connsiteY38" fmla="*/ 312467 h 5143500"/>
              <a:gd name="connsiteX39" fmla="*/ 0 w 3708000"/>
              <a:gd name="connsiteY39" fmla="*/ 0 h 5143500"/>
              <a:gd name="connsiteX40" fmla="*/ 3708000 w 3708000"/>
              <a:gd name="connsiteY40" fmla="*/ 0 h 5143500"/>
              <a:gd name="connsiteX41" fmla="*/ 3708000 w 3708000"/>
              <a:gd name="connsiteY41" fmla="*/ 5143500 h 5143500"/>
              <a:gd name="connsiteX42" fmla="*/ 0 w 3708000"/>
              <a:gd name="connsiteY4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3708000" h="5143500">
                <a:moveTo>
                  <a:pt x="142240" y="2070213"/>
                </a:moveTo>
                <a:cubicBezTo>
                  <a:pt x="135327" y="2070030"/>
                  <a:pt x="129566" y="2075207"/>
                  <a:pt x="129373" y="2081770"/>
                </a:cubicBezTo>
                <a:cubicBezTo>
                  <a:pt x="129373" y="2081784"/>
                  <a:pt x="129373" y="2081802"/>
                  <a:pt x="129373" y="2081817"/>
                </a:cubicBezTo>
                <a:cubicBezTo>
                  <a:pt x="129289" y="2088463"/>
                  <a:pt x="134903" y="2093912"/>
                  <a:pt x="141900" y="2093986"/>
                </a:cubicBezTo>
                <a:cubicBezTo>
                  <a:pt x="148681" y="2093982"/>
                  <a:pt x="154228" y="2088862"/>
                  <a:pt x="154416" y="2082425"/>
                </a:cubicBezTo>
                <a:cubicBezTo>
                  <a:pt x="154608" y="2075863"/>
                  <a:pt x="149155" y="2070395"/>
                  <a:pt x="142240" y="2070213"/>
                </a:cubicBezTo>
                <a:close/>
                <a:moveTo>
                  <a:pt x="142531" y="1765449"/>
                </a:moveTo>
                <a:cubicBezTo>
                  <a:pt x="128673" y="1765111"/>
                  <a:pt x="117153" y="1775503"/>
                  <a:pt x="116798" y="1788657"/>
                </a:cubicBezTo>
                <a:cubicBezTo>
                  <a:pt x="116798" y="1788675"/>
                  <a:pt x="116798" y="1788689"/>
                  <a:pt x="116798" y="1788707"/>
                </a:cubicBezTo>
                <a:cubicBezTo>
                  <a:pt x="116635" y="1802020"/>
                  <a:pt x="127874" y="1812936"/>
                  <a:pt x="141899" y="1813090"/>
                </a:cubicBezTo>
                <a:cubicBezTo>
                  <a:pt x="155511" y="1813086"/>
                  <a:pt x="166635" y="1802788"/>
                  <a:pt x="166987" y="1789873"/>
                </a:cubicBezTo>
                <a:cubicBezTo>
                  <a:pt x="167337" y="1776720"/>
                  <a:pt x="156393" y="1765781"/>
                  <a:pt x="142531" y="1765449"/>
                </a:cubicBezTo>
                <a:close/>
                <a:moveTo>
                  <a:pt x="142240" y="1484172"/>
                </a:moveTo>
                <a:cubicBezTo>
                  <a:pt x="135326" y="1483989"/>
                  <a:pt x="129565" y="1489166"/>
                  <a:pt x="129373" y="1495729"/>
                </a:cubicBezTo>
                <a:cubicBezTo>
                  <a:pt x="129373" y="1495776"/>
                  <a:pt x="129373" y="1495823"/>
                  <a:pt x="129373" y="1495874"/>
                </a:cubicBezTo>
                <a:cubicBezTo>
                  <a:pt x="129319" y="1502488"/>
                  <a:pt x="134926" y="1507895"/>
                  <a:pt x="141899" y="1507945"/>
                </a:cubicBezTo>
                <a:cubicBezTo>
                  <a:pt x="148680" y="1507941"/>
                  <a:pt x="154228" y="1502821"/>
                  <a:pt x="154416" y="1496384"/>
                </a:cubicBezTo>
                <a:cubicBezTo>
                  <a:pt x="154608" y="1489822"/>
                  <a:pt x="149154" y="1484354"/>
                  <a:pt x="142240" y="1484172"/>
                </a:cubicBezTo>
                <a:close/>
                <a:moveTo>
                  <a:pt x="142240" y="1191246"/>
                </a:moveTo>
                <a:cubicBezTo>
                  <a:pt x="135326" y="1191064"/>
                  <a:pt x="129565" y="1196240"/>
                  <a:pt x="129373" y="1202803"/>
                </a:cubicBezTo>
                <a:cubicBezTo>
                  <a:pt x="129373" y="1202850"/>
                  <a:pt x="129373" y="1202897"/>
                  <a:pt x="129373" y="1202948"/>
                </a:cubicBezTo>
                <a:cubicBezTo>
                  <a:pt x="129319" y="1209562"/>
                  <a:pt x="134926" y="1214969"/>
                  <a:pt x="141899" y="1215019"/>
                </a:cubicBezTo>
                <a:cubicBezTo>
                  <a:pt x="148680" y="1215015"/>
                  <a:pt x="154228" y="1209895"/>
                  <a:pt x="154416" y="1203458"/>
                </a:cubicBezTo>
                <a:cubicBezTo>
                  <a:pt x="154608" y="1196896"/>
                  <a:pt x="149154" y="1191428"/>
                  <a:pt x="142240" y="1191246"/>
                </a:cubicBezTo>
                <a:close/>
                <a:moveTo>
                  <a:pt x="142191" y="898320"/>
                </a:moveTo>
                <a:cubicBezTo>
                  <a:pt x="135277" y="898165"/>
                  <a:pt x="129537" y="903361"/>
                  <a:pt x="129373" y="909924"/>
                </a:cubicBezTo>
                <a:cubicBezTo>
                  <a:pt x="129294" y="916570"/>
                  <a:pt x="134903" y="922019"/>
                  <a:pt x="141900" y="922093"/>
                </a:cubicBezTo>
                <a:cubicBezTo>
                  <a:pt x="148701" y="922093"/>
                  <a:pt x="154258" y="916941"/>
                  <a:pt x="154421" y="910486"/>
                </a:cubicBezTo>
                <a:cubicBezTo>
                  <a:pt x="154583" y="903923"/>
                  <a:pt x="149109" y="898474"/>
                  <a:pt x="142191" y="898320"/>
                </a:cubicBezTo>
                <a:close/>
                <a:moveTo>
                  <a:pt x="142486" y="593738"/>
                </a:moveTo>
                <a:cubicBezTo>
                  <a:pt x="128623" y="593429"/>
                  <a:pt x="117123" y="603844"/>
                  <a:pt x="116798" y="616998"/>
                </a:cubicBezTo>
                <a:cubicBezTo>
                  <a:pt x="116660" y="630301"/>
                  <a:pt x="127884" y="641207"/>
                  <a:pt x="141900" y="641384"/>
                </a:cubicBezTo>
                <a:cubicBezTo>
                  <a:pt x="155531" y="641381"/>
                  <a:pt x="166666" y="631054"/>
                  <a:pt x="166986" y="618121"/>
                </a:cubicBezTo>
                <a:cubicBezTo>
                  <a:pt x="167312" y="604968"/>
                  <a:pt x="156344" y="594052"/>
                  <a:pt x="142486" y="593738"/>
                </a:cubicBezTo>
                <a:close/>
                <a:moveTo>
                  <a:pt x="142191" y="312467"/>
                </a:moveTo>
                <a:cubicBezTo>
                  <a:pt x="135277" y="312312"/>
                  <a:pt x="129537" y="317508"/>
                  <a:pt x="129373" y="324071"/>
                </a:cubicBezTo>
                <a:cubicBezTo>
                  <a:pt x="129294" y="330717"/>
                  <a:pt x="134903" y="336166"/>
                  <a:pt x="141900" y="336240"/>
                </a:cubicBezTo>
                <a:cubicBezTo>
                  <a:pt x="148701" y="336240"/>
                  <a:pt x="154258" y="331088"/>
                  <a:pt x="154421" y="324633"/>
                </a:cubicBezTo>
                <a:cubicBezTo>
                  <a:pt x="154583" y="318071"/>
                  <a:pt x="149109" y="312621"/>
                  <a:pt x="142191" y="312467"/>
                </a:cubicBezTo>
                <a:close/>
                <a:moveTo>
                  <a:pt x="0" y="0"/>
                </a:moveTo>
                <a:lnTo>
                  <a:pt x="3708000" y="0"/>
                </a:lnTo>
                <a:lnTo>
                  <a:pt x="3708000" y="5143500"/>
                </a:lnTo>
                <a:lnTo>
                  <a:pt x="0" y="5143500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D8696F04-7E67-0736-93CC-D9B23CD6EF77}"/>
              </a:ext>
            </a:extLst>
          </p:cNvPr>
          <p:cNvSpPr txBox="1">
            <a:spLocks/>
          </p:cNvSpPr>
          <p:nvPr/>
        </p:nvSpPr>
        <p:spPr>
          <a:xfrm>
            <a:off x="807966" y="1675935"/>
            <a:ext cx="3764034" cy="22685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2000" dirty="0">
              <a:solidFill>
                <a:srgbClr val="28007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en-US" sz="2000" dirty="0" err="1">
                <a:solidFill>
                  <a:srgbClr val="280071"/>
                </a:solidFill>
              </a:rPr>
              <a:t>Redusere</a:t>
            </a:r>
            <a:r>
              <a:rPr lang="en-US" sz="2000" dirty="0">
                <a:solidFill>
                  <a:srgbClr val="280071"/>
                </a:solidFill>
              </a:rPr>
              <a:t> “</a:t>
            </a:r>
            <a:r>
              <a:rPr lang="en-US" sz="2000" dirty="0" err="1">
                <a:solidFill>
                  <a:srgbClr val="280071"/>
                </a:solidFill>
              </a:rPr>
              <a:t>kompleks</a:t>
            </a:r>
            <a:r>
              <a:rPr lang="en-US" sz="2000" dirty="0">
                <a:solidFill>
                  <a:srgbClr val="280071"/>
                </a:solidFill>
              </a:rPr>
              <a:t>” UI/UX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endParaRPr lang="en-US" sz="2000" dirty="0">
              <a:solidFill>
                <a:srgbClr val="280071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  <a:defRPr/>
            </a:pPr>
            <a:r>
              <a:rPr lang="en-US" sz="2000" dirty="0" err="1">
                <a:solidFill>
                  <a:srgbClr val="280071"/>
                </a:solidFill>
              </a:rPr>
              <a:t>Automatisere</a:t>
            </a:r>
            <a:r>
              <a:rPr lang="en-US" sz="2000" dirty="0">
                <a:solidFill>
                  <a:srgbClr val="280071"/>
                </a:solidFill>
              </a:rPr>
              <a:t> </a:t>
            </a:r>
            <a:r>
              <a:rPr lang="en-US" sz="2000" dirty="0" err="1">
                <a:solidFill>
                  <a:srgbClr val="280071"/>
                </a:solidFill>
              </a:rPr>
              <a:t>administrasjon</a:t>
            </a:r>
            <a:r>
              <a:rPr lang="en-US" sz="2000" dirty="0">
                <a:solidFill>
                  <a:srgbClr val="280071"/>
                </a:solidFill>
              </a:rPr>
              <a:t> av digital </a:t>
            </a:r>
            <a:r>
              <a:rPr lang="en-US" sz="2000" dirty="0" err="1">
                <a:solidFill>
                  <a:srgbClr val="280071"/>
                </a:solidFill>
              </a:rPr>
              <a:t>innhold</a:t>
            </a:r>
            <a:br>
              <a:rPr lang="en-US" sz="2000" dirty="0">
                <a:solidFill>
                  <a:srgbClr val="280071"/>
                </a:solidFill>
              </a:rPr>
            </a:br>
            <a:endParaRPr lang="en-US" sz="2000" dirty="0">
              <a:solidFill>
                <a:srgbClr val="280071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  <a:defRPr/>
            </a:pPr>
            <a:r>
              <a:rPr lang="en-US" sz="2000" dirty="0" err="1">
                <a:solidFill>
                  <a:srgbClr val="280071"/>
                </a:solidFill>
              </a:rPr>
              <a:t>Støtte</a:t>
            </a:r>
            <a:r>
              <a:rPr lang="en-US" sz="2000" dirty="0">
                <a:solidFill>
                  <a:srgbClr val="280071"/>
                </a:solidFill>
              </a:rPr>
              <a:t> </a:t>
            </a:r>
            <a:r>
              <a:rPr lang="en-US" sz="2000" dirty="0" err="1">
                <a:solidFill>
                  <a:srgbClr val="280071"/>
                </a:solidFill>
              </a:rPr>
              <a:t>kunnskapsarbeid</a:t>
            </a:r>
            <a:r>
              <a:rPr lang="en-US" sz="2000" dirty="0">
                <a:solidFill>
                  <a:srgbClr val="280071"/>
                </a:solidFill>
              </a:rPr>
              <a:t> </a:t>
            </a:r>
          </a:p>
          <a:p>
            <a:pPr marR="0" lvl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lang="en-US" sz="2000" dirty="0">
                <a:solidFill>
                  <a:srgbClr val="280071"/>
                </a:solidFill>
                <a:latin typeface="Tietoevry Sans 1 Light"/>
              </a:rPr>
            </a:br>
            <a:endParaRPr lang="en-US" sz="2000" dirty="0">
              <a:solidFill>
                <a:srgbClr val="280071"/>
              </a:solidFill>
              <a:latin typeface="Tietoevry Sans 1 Light"/>
            </a:endParaRPr>
          </a:p>
          <a:p>
            <a:pPr marL="285750" marR="0" lvl="0" indent="-28575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en-US" sz="2000" dirty="0">
              <a:solidFill>
                <a:srgbClr val="280071"/>
              </a:solidFill>
              <a:latin typeface="Tietoevry Sans 1 Light"/>
            </a:endParaRPr>
          </a:p>
          <a:p>
            <a:pPr marL="285750" marR="0" lvl="0" indent="-28575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80071"/>
              </a:solidFill>
              <a:effectLst/>
              <a:uLnTx/>
              <a:uFillTx/>
              <a:latin typeface="Tietoevry Sans 1 Light"/>
              <a:ea typeface="+mj-ea"/>
              <a:cs typeface="+mj-cs"/>
            </a:endParaRP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280071"/>
              </a:solidFill>
              <a:effectLst/>
              <a:uLnTx/>
              <a:uFillTx/>
              <a:latin typeface="Tietoevry Sans 1 Light"/>
              <a:ea typeface="+mj-ea"/>
              <a:cs typeface="+mj-cs"/>
            </a:endParaRP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280071"/>
              </a:solidFill>
              <a:effectLst/>
              <a:uLnTx/>
              <a:uFillTx/>
              <a:latin typeface="Tietoevry Sans 1 Ligh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9447269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Shape 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FFFF">
              <a:alpha val="75000"/>
            </a:srgbClr>
          </a:solidFill>
          <a:ln w="13811">
            <a:solidFill>
              <a:srgbClr val="FFFFFF">
                <a:alpha val="64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5715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2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Image 1" descr="preencoded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8000" y="0"/>
            <a:ext cx="2286000" cy="5143500"/>
          </a:xfrm>
          <a:prstGeom prst="rect">
            <a:avLst/>
          </a:prstGeom>
        </p:spPr>
      </p:pic>
      <p:sp>
        <p:nvSpPr>
          <p:cNvPr id="5" name="Text 1"/>
          <p:cNvSpPr/>
          <p:nvPr/>
        </p:nvSpPr>
        <p:spPr>
          <a:xfrm>
            <a:off x="520750" y="432346"/>
            <a:ext cx="6045702" cy="1301949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marR="0" lvl="0" indent="0" algn="l" defTabSz="571500" rtl="0" eaLnBrk="1" fontAlgn="auto" latinLnBrk="0" hangingPunct="1">
              <a:lnSpc>
                <a:spcPts val="341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734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p22-mackinac-pro" pitchFamily="34" charset="-122"/>
                <a:cs typeface="p22-mackinac-pro" pitchFamily="34" charset="-120"/>
              </a:rPr>
              <a:t>Intelligente og brukersentriske </a:t>
            </a:r>
            <a:br>
              <a:rPr kumimoji="0" lang="nb-NO" sz="2734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p22-mackinac-pro" pitchFamily="34" charset="-122"/>
                <a:cs typeface="p22-mackinac-pro" pitchFamily="34" charset="-120"/>
              </a:rPr>
            </a:br>
            <a:r>
              <a:rPr kumimoji="0" lang="nb-NO" sz="2734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p22-mackinac-pro" pitchFamily="34" charset="-122"/>
                <a:cs typeface="p22-mackinac-pro" pitchFamily="34" charset="-120"/>
              </a:rPr>
              <a:t>UX-konsepter</a:t>
            </a:r>
          </a:p>
        </p:txBody>
      </p:sp>
      <p:sp>
        <p:nvSpPr>
          <p:cNvPr id="16" name="Text 12"/>
          <p:cNvSpPr/>
          <p:nvPr/>
        </p:nvSpPr>
        <p:spPr>
          <a:xfrm>
            <a:off x="1401356" y="2055578"/>
            <a:ext cx="4844430" cy="222126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marR="0" lvl="0" indent="0" algn="l" defTabSz="5715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ea typeface="Eudoxus Sans" pitchFamily="34" charset="-122"/>
                <a:cs typeface="Eudoxus Sans" pitchFamily="34" charset="-120"/>
              </a:rPr>
              <a:t>360° Chat &amp; </a:t>
            </a:r>
            <a:r>
              <a:rPr kumimoji="0" lang="nb-NO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ea typeface="Eudoxus Sans" pitchFamily="34" charset="-122"/>
                <a:cs typeface="Eudoxus Sans" pitchFamily="34" charset="-120"/>
              </a:rPr>
              <a:t>Copilot</a:t>
            </a:r>
            <a:b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ea typeface="Eudoxus Sans" pitchFamily="34" charset="-122"/>
                <a:cs typeface="Eudoxus Sans" pitchFamily="34" charset="-120"/>
              </a:rPr>
            </a:br>
            <a:b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ea typeface="Eudoxus Sans" pitchFamily="34" charset="-122"/>
                <a:cs typeface="Eudoxus Sans" pitchFamily="34" charset="-120"/>
              </a:rPr>
            </a:b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ea typeface="Eudoxus Sans" pitchFamily="34" charset="-122"/>
                <a:cs typeface="Eudoxus Sans" pitchFamily="34" charset="-120"/>
              </a:rPr>
              <a:t>- Tilgang til systemhjelp</a:t>
            </a:r>
          </a:p>
          <a:p>
            <a:pPr marL="0" marR="0" lvl="0" indent="0" algn="l" defTabSz="5715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000" dirty="0">
                <a:solidFill>
                  <a:srgbClr val="272525"/>
                </a:solidFill>
                <a:ea typeface="Eudoxus Sans" pitchFamily="34" charset="-122"/>
                <a:cs typeface="Eudoxus Sans" pitchFamily="34" charset="-120"/>
              </a:rPr>
              <a:t>- Bruker opplæring</a:t>
            </a:r>
          </a:p>
          <a:p>
            <a:pPr defTabSz="571500">
              <a:defRPr/>
            </a:pPr>
            <a:r>
              <a:rPr lang="nb-NO" sz="2000" dirty="0">
                <a:solidFill>
                  <a:srgbClr val="272525"/>
                </a:solidFill>
                <a:ea typeface="Eudoxus Sans" pitchFamily="34" charset="-122"/>
                <a:cs typeface="Eudoxus Sans" pitchFamily="34" charset="-120"/>
              </a:rPr>
              <a:t>- Lage dokumentasjon</a:t>
            </a:r>
          </a:p>
          <a:p>
            <a:pPr marL="0" marR="0" lvl="0" indent="0" algn="l" defTabSz="5715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ea typeface="Eudoxus Sans" pitchFamily="34" charset="-122"/>
                <a:cs typeface="Eudoxus Sans" pitchFamily="34" charset="-120"/>
              </a:rPr>
              <a:t>- Søk I dokumenter</a:t>
            </a:r>
          </a:p>
          <a:p>
            <a:pPr marL="0" marR="0" lvl="0" indent="0" algn="l" defTabSz="5715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000" dirty="0">
                <a:solidFill>
                  <a:srgbClr val="272525"/>
                </a:solidFill>
                <a:ea typeface="Eudoxus Sans" pitchFamily="34" charset="-122"/>
                <a:cs typeface="Eudoxus Sans" pitchFamily="34" charset="-120"/>
              </a:rPr>
              <a:t>- Styring av systemfunksjoner</a:t>
            </a: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645667-305B-A63F-C0C0-712A9B6252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036B21-EB14-5A68-92DA-119AC1E5BB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Tietoevry Sans 1"/>
                <a:ea typeface="+mn-ea"/>
                <a:cs typeface="+mn-cs"/>
              </a:rPr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DBA9C3-72C0-5722-4B67-4DE00F120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E25E67-CBB9-434B-BBF7-0A5E970272B8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Tietoevry Sans 1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BEBEBE"/>
              </a:solidFill>
              <a:effectLst/>
              <a:uLnTx/>
              <a:uFillTx/>
              <a:latin typeface="Tietoevry Sans 1"/>
              <a:ea typeface="+mn-ea"/>
              <a:cs typeface="+mn-cs"/>
            </a:endParaRPr>
          </a:p>
        </p:txBody>
      </p:sp>
      <p:pic>
        <p:nvPicPr>
          <p:cNvPr id="8" name="Picture Placeholder 10" descr="A group of people sitting on stairs&#10;&#10;Description automatically generated with medium confidence">
            <a:extLst>
              <a:ext uri="{FF2B5EF4-FFF2-40B4-BE49-F238E27FC236}">
                <a16:creationId xmlns:a16="http://schemas.microsoft.com/office/drawing/2014/main" id="{AE9C6D57-B6D8-19AA-AFDD-D4A2795E758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10" r="43270"/>
          <a:stretch/>
        </p:blipFill>
        <p:spPr>
          <a:xfrm>
            <a:off x="5434626" y="0"/>
            <a:ext cx="3711600" cy="5143500"/>
          </a:xfrm>
          <a:custGeom>
            <a:avLst/>
            <a:gdLst>
              <a:gd name="connsiteX0" fmla="*/ 142240 w 3708000"/>
              <a:gd name="connsiteY0" fmla="*/ 2070213 h 5143500"/>
              <a:gd name="connsiteX1" fmla="*/ 129373 w 3708000"/>
              <a:gd name="connsiteY1" fmla="*/ 2081770 h 5143500"/>
              <a:gd name="connsiteX2" fmla="*/ 129373 w 3708000"/>
              <a:gd name="connsiteY2" fmla="*/ 2081817 h 5143500"/>
              <a:gd name="connsiteX3" fmla="*/ 141900 w 3708000"/>
              <a:gd name="connsiteY3" fmla="*/ 2093986 h 5143500"/>
              <a:gd name="connsiteX4" fmla="*/ 154416 w 3708000"/>
              <a:gd name="connsiteY4" fmla="*/ 2082425 h 5143500"/>
              <a:gd name="connsiteX5" fmla="*/ 142240 w 3708000"/>
              <a:gd name="connsiteY5" fmla="*/ 2070213 h 5143500"/>
              <a:gd name="connsiteX6" fmla="*/ 142531 w 3708000"/>
              <a:gd name="connsiteY6" fmla="*/ 1765449 h 5143500"/>
              <a:gd name="connsiteX7" fmla="*/ 116798 w 3708000"/>
              <a:gd name="connsiteY7" fmla="*/ 1788657 h 5143500"/>
              <a:gd name="connsiteX8" fmla="*/ 116798 w 3708000"/>
              <a:gd name="connsiteY8" fmla="*/ 1788707 h 5143500"/>
              <a:gd name="connsiteX9" fmla="*/ 141899 w 3708000"/>
              <a:gd name="connsiteY9" fmla="*/ 1813090 h 5143500"/>
              <a:gd name="connsiteX10" fmla="*/ 166987 w 3708000"/>
              <a:gd name="connsiteY10" fmla="*/ 1789873 h 5143500"/>
              <a:gd name="connsiteX11" fmla="*/ 142531 w 3708000"/>
              <a:gd name="connsiteY11" fmla="*/ 1765449 h 5143500"/>
              <a:gd name="connsiteX12" fmla="*/ 142240 w 3708000"/>
              <a:gd name="connsiteY12" fmla="*/ 1484172 h 5143500"/>
              <a:gd name="connsiteX13" fmla="*/ 129373 w 3708000"/>
              <a:gd name="connsiteY13" fmla="*/ 1495729 h 5143500"/>
              <a:gd name="connsiteX14" fmla="*/ 129373 w 3708000"/>
              <a:gd name="connsiteY14" fmla="*/ 1495874 h 5143500"/>
              <a:gd name="connsiteX15" fmla="*/ 141899 w 3708000"/>
              <a:gd name="connsiteY15" fmla="*/ 1507945 h 5143500"/>
              <a:gd name="connsiteX16" fmla="*/ 154416 w 3708000"/>
              <a:gd name="connsiteY16" fmla="*/ 1496384 h 5143500"/>
              <a:gd name="connsiteX17" fmla="*/ 142240 w 3708000"/>
              <a:gd name="connsiteY17" fmla="*/ 1484172 h 5143500"/>
              <a:gd name="connsiteX18" fmla="*/ 142240 w 3708000"/>
              <a:gd name="connsiteY18" fmla="*/ 1191246 h 5143500"/>
              <a:gd name="connsiteX19" fmla="*/ 129373 w 3708000"/>
              <a:gd name="connsiteY19" fmla="*/ 1202803 h 5143500"/>
              <a:gd name="connsiteX20" fmla="*/ 129373 w 3708000"/>
              <a:gd name="connsiteY20" fmla="*/ 1202948 h 5143500"/>
              <a:gd name="connsiteX21" fmla="*/ 141899 w 3708000"/>
              <a:gd name="connsiteY21" fmla="*/ 1215019 h 5143500"/>
              <a:gd name="connsiteX22" fmla="*/ 154416 w 3708000"/>
              <a:gd name="connsiteY22" fmla="*/ 1203458 h 5143500"/>
              <a:gd name="connsiteX23" fmla="*/ 142240 w 3708000"/>
              <a:gd name="connsiteY23" fmla="*/ 1191246 h 5143500"/>
              <a:gd name="connsiteX24" fmla="*/ 142191 w 3708000"/>
              <a:gd name="connsiteY24" fmla="*/ 898320 h 5143500"/>
              <a:gd name="connsiteX25" fmla="*/ 129373 w 3708000"/>
              <a:gd name="connsiteY25" fmla="*/ 909924 h 5143500"/>
              <a:gd name="connsiteX26" fmla="*/ 141900 w 3708000"/>
              <a:gd name="connsiteY26" fmla="*/ 922093 h 5143500"/>
              <a:gd name="connsiteX27" fmla="*/ 154421 w 3708000"/>
              <a:gd name="connsiteY27" fmla="*/ 910486 h 5143500"/>
              <a:gd name="connsiteX28" fmla="*/ 142191 w 3708000"/>
              <a:gd name="connsiteY28" fmla="*/ 898320 h 5143500"/>
              <a:gd name="connsiteX29" fmla="*/ 142486 w 3708000"/>
              <a:gd name="connsiteY29" fmla="*/ 593738 h 5143500"/>
              <a:gd name="connsiteX30" fmla="*/ 116798 w 3708000"/>
              <a:gd name="connsiteY30" fmla="*/ 616998 h 5143500"/>
              <a:gd name="connsiteX31" fmla="*/ 141900 w 3708000"/>
              <a:gd name="connsiteY31" fmla="*/ 641384 h 5143500"/>
              <a:gd name="connsiteX32" fmla="*/ 166986 w 3708000"/>
              <a:gd name="connsiteY32" fmla="*/ 618121 h 5143500"/>
              <a:gd name="connsiteX33" fmla="*/ 142486 w 3708000"/>
              <a:gd name="connsiteY33" fmla="*/ 593738 h 5143500"/>
              <a:gd name="connsiteX34" fmla="*/ 142191 w 3708000"/>
              <a:gd name="connsiteY34" fmla="*/ 312467 h 5143500"/>
              <a:gd name="connsiteX35" fmla="*/ 129373 w 3708000"/>
              <a:gd name="connsiteY35" fmla="*/ 324071 h 5143500"/>
              <a:gd name="connsiteX36" fmla="*/ 141900 w 3708000"/>
              <a:gd name="connsiteY36" fmla="*/ 336240 h 5143500"/>
              <a:gd name="connsiteX37" fmla="*/ 154421 w 3708000"/>
              <a:gd name="connsiteY37" fmla="*/ 324633 h 5143500"/>
              <a:gd name="connsiteX38" fmla="*/ 142191 w 3708000"/>
              <a:gd name="connsiteY38" fmla="*/ 312467 h 5143500"/>
              <a:gd name="connsiteX39" fmla="*/ 0 w 3708000"/>
              <a:gd name="connsiteY39" fmla="*/ 0 h 5143500"/>
              <a:gd name="connsiteX40" fmla="*/ 3708000 w 3708000"/>
              <a:gd name="connsiteY40" fmla="*/ 0 h 5143500"/>
              <a:gd name="connsiteX41" fmla="*/ 3708000 w 3708000"/>
              <a:gd name="connsiteY41" fmla="*/ 5143500 h 5143500"/>
              <a:gd name="connsiteX42" fmla="*/ 0 w 3708000"/>
              <a:gd name="connsiteY4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3708000" h="5143500">
                <a:moveTo>
                  <a:pt x="142240" y="2070213"/>
                </a:moveTo>
                <a:cubicBezTo>
                  <a:pt x="135327" y="2070030"/>
                  <a:pt x="129566" y="2075207"/>
                  <a:pt x="129373" y="2081770"/>
                </a:cubicBezTo>
                <a:cubicBezTo>
                  <a:pt x="129373" y="2081784"/>
                  <a:pt x="129373" y="2081802"/>
                  <a:pt x="129373" y="2081817"/>
                </a:cubicBezTo>
                <a:cubicBezTo>
                  <a:pt x="129289" y="2088463"/>
                  <a:pt x="134903" y="2093912"/>
                  <a:pt x="141900" y="2093986"/>
                </a:cubicBezTo>
                <a:cubicBezTo>
                  <a:pt x="148681" y="2093982"/>
                  <a:pt x="154228" y="2088862"/>
                  <a:pt x="154416" y="2082425"/>
                </a:cubicBezTo>
                <a:cubicBezTo>
                  <a:pt x="154608" y="2075863"/>
                  <a:pt x="149155" y="2070395"/>
                  <a:pt x="142240" y="2070213"/>
                </a:cubicBezTo>
                <a:close/>
                <a:moveTo>
                  <a:pt x="142531" y="1765449"/>
                </a:moveTo>
                <a:cubicBezTo>
                  <a:pt x="128673" y="1765111"/>
                  <a:pt x="117153" y="1775503"/>
                  <a:pt x="116798" y="1788657"/>
                </a:cubicBezTo>
                <a:cubicBezTo>
                  <a:pt x="116798" y="1788675"/>
                  <a:pt x="116798" y="1788689"/>
                  <a:pt x="116798" y="1788707"/>
                </a:cubicBezTo>
                <a:cubicBezTo>
                  <a:pt x="116635" y="1802020"/>
                  <a:pt x="127874" y="1812936"/>
                  <a:pt x="141899" y="1813090"/>
                </a:cubicBezTo>
                <a:cubicBezTo>
                  <a:pt x="155511" y="1813086"/>
                  <a:pt x="166635" y="1802788"/>
                  <a:pt x="166987" y="1789873"/>
                </a:cubicBezTo>
                <a:cubicBezTo>
                  <a:pt x="167337" y="1776720"/>
                  <a:pt x="156393" y="1765781"/>
                  <a:pt x="142531" y="1765449"/>
                </a:cubicBezTo>
                <a:close/>
                <a:moveTo>
                  <a:pt x="142240" y="1484172"/>
                </a:moveTo>
                <a:cubicBezTo>
                  <a:pt x="135326" y="1483989"/>
                  <a:pt x="129565" y="1489166"/>
                  <a:pt x="129373" y="1495729"/>
                </a:cubicBezTo>
                <a:cubicBezTo>
                  <a:pt x="129373" y="1495776"/>
                  <a:pt x="129373" y="1495823"/>
                  <a:pt x="129373" y="1495874"/>
                </a:cubicBezTo>
                <a:cubicBezTo>
                  <a:pt x="129319" y="1502488"/>
                  <a:pt x="134926" y="1507895"/>
                  <a:pt x="141899" y="1507945"/>
                </a:cubicBezTo>
                <a:cubicBezTo>
                  <a:pt x="148680" y="1507941"/>
                  <a:pt x="154228" y="1502821"/>
                  <a:pt x="154416" y="1496384"/>
                </a:cubicBezTo>
                <a:cubicBezTo>
                  <a:pt x="154608" y="1489822"/>
                  <a:pt x="149154" y="1484354"/>
                  <a:pt x="142240" y="1484172"/>
                </a:cubicBezTo>
                <a:close/>
                <a:moveTo>
                  <a:pt x="142240" y="1191246"/>
                </a:moveTo>
                <a:cubicBezTo>
                  <a:pt x="135326" y="1191064"/>
                  <a:pt x="129565" y="1196240"/>
                  <a:pt x="129373" y="1202803"/>
                </a:cubicBezTo>
                <a:cubicBezTo>
                  <a:pt x="129373" y="1202850"/>
                  <a:pt x="129373" y="1202897"/>
                  <a:pt x="129373" y="1202948"/>
                </a:cubicBezTo>
                <a:cubicBezTo>
                  <a:pt x="129319" y="1209562"/>
                  <a:pt x="134926" y="1214969"/>
                  <a:pt x="141899" y="1215019"/>
                </a:cubicBezTo>
                <a:cubicBezTo>
                  <a:pt x="148680" y="1215015"/>
                  <a:pt x="154228" y="1209895"/>
                  <a:pt x="154416" y="1203458"/>
                </a:cubicBezTo>
                <a:cubicBezTo>
                  <a:pt x="154608" y="1196896"/>
                  <a:pt x="149154" y="1191428"/>
                  <a:pt x="142240" y="1191246"/>
                </a:cubicBezTo>
                <a:close/>
                <a:moveTo>
                  <a:pt x="142191" y="898320"/>
                </a:moveTo>
                <a:cubicBezTo>
                  <a:pt x="135277" y="898165"/>
                  <a:pt x="129537" y="903361"/>
                  <a:pt x="129373" y="909924"/>
                </a:cubicBezTo>
                <a:cubicBezTo>
                  <a:pt x="129294" y="916570"/>
                  <a:pt x="134903" y="922019"/>
                  <a:pt x="141900" y="922093"/>
                </a:cubicBezTo>
                <a:cubicBezTo>
                  <a:pt x="148701" y="922093"/>
                  <a:pt x="154258" y="916941"/>
                  <a:pt x="154421" y="910486"/>
                </a:cubicBezTo>
                <a:cubicBezTo>
                  <a:pt x="154583" y="903923"/>
                  <a:pt x="149109" y="898474"/>
                  <a:pt x="142191" y="898320"/>
                </a:cubicBezTo>
                <a:close/>
                <a:moveTo>
                  <a:pt x="142486" y="593738"/>
                </a:moveTo>
                <a:cubicBezTo>
                  <a:pt x="128623" y="593429"/>
                  <a:pt x="117123" y="603844"/>
                  <a:pt x="116798" y="616998"/>
                </a:cubicBezTo>
                <a:cubicBezTo>
                  <a:pt x="116660" y="630301"/>
                  <a:pt x="127884" y="641207"/>
                  <a:pt x="141900" y="641384"/>
                </a:cubicBezTo>
                <a:cubicBezTo>
                  <a:pt x="155531" y="641381"/>
                  <a:pt x="166666" y="631054"/>
                  <a:pt x="166986" y="618121"/>
                </a:cubicBezTo>
                <a:cubicBezTo>
                  <a:pt x="167312" y="604968"/>
                  <a:pt x="156344" y="594052"/>
                  <a:pt x="142486" y="593738"/>
                </a:cubicBezTo>
                <a:close/>
                <a:moveTo>
                  <a:pt x="142191" y="312467"/>
                </a:moveTo>
                <a:cubicBezTo>
                  <a:pt x="135277" y="312312"/>
                  <a:pt x="129537" y="317508"/>
                  <a:pt x="129373" y="324071"/>
                </a:cubicBezTo>
                <a:cubicBezTo>
                  <a:pt x="129294" y="330717"/>
                  <a:pt x="134903" y="336166"/>
                  <a:pt x="141900" y="336240"/>
                </a:cubicBezTo>
                <a:cubicBezTo>
                  <a:pt x="148701" y="336240"/>
                  <a:pt x="154258" y="331088"/>
                  <a:pt x="154421" y="324633"/>
                </a:cubicBezTo>
                <a:cubicBezTo>
                  <a:pt x="154583" y="318071"/>
                  <a:pt x="149109" y="312621"/>
                  <a:pt x="142191" y="312467"/>
                </a:cubicBezTo>
                <a:close/>
                <a:moveTo>
                  <a:pt x="0" y="0"/>
                </a:moveTo>
                <a:lnTo>
                  <a:pt x="3708000" y="0"/>
                </a:lnTo>
                <a:lnTo>
                  <a:pt x="3708000" y="5143500"/>
                </a:lnTo>
                <a:lnTo>
                  <a:pt x="0" y="5143500"/>
                </a:lnTo>
                <a:close/>
              </a:path>
            </a:pathLst>
          </a:custGeom>
        </p:spPr>
      </p:pic>
      <p:pic>
        <p:nvPicPr>
          <p:cNvPr id="3" name="Picture 6">
            <a:extLst>
              <a:ext uri="{FF2B5EF4-FFF2-40B4-BE49-F238E27FC236}">
                <a16:creationId xmlns:a16="http://schemas.microsoft.com/office/drawing/2014/main" id="{B525657C-CBAC-E927-3015-F6A12F162B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5588" y="0"/>
            <a:ext cx="51435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3A86FADB-A41E-0EF4-49A3-45573AD35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959" y="1638766"/>
            <a:ext cx="3141675" cy="186596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nb-NO" sz="2000" dirty="0">
                <a:solidFill>
                  <a:srgbClr val="280071"/>
                </a:solidFill>
                <a:latin typeface="Tietoevry Sans 1 Light"/>
              </a:rPr>
              <a:t>Offentlige arkivene er den  </a:t>
            </a:r>
            <a:r>
              <a:rPr lang="nb-NO" sz="2000" b="1" dirty="0">
                <a:solidFill>
                  <a:srgbClr val="280071"/>
                </a:solidFill>
                <a:latin typeface="Tietoevry Sans 1 Light"/>
              </a:rPr>
              <a:t>digitale hukommelse </a:t>
            </a:r>
            <a:br>
              <a:rPr lang="nb-NO" sz="2000" b="1" dirty="0">
                <a:solidFill>
                  <a:srgbClr val="280071"/>
                </a:solidFill>
                <a:latin typeface="Tietoevry Sans 1 Light"/>
              </a:rPr>
            </a:br>
            <a:r>
              <a:rPr lang="nb-NO" sz="2000" dirty="0">
                <a:solidFill>
                  <a:srgbClr val="280071"/>
                </a:solidFill>
                <a:latin typeface="Tietoevry Sans 1 Light"/>
              </a:rPr>
              <a:t>av offentlige virksomheten og relevant samfunnsområde</a:t>
            </a:r>
            <a:br>
              <a:rPr lang="nb-NO" sz="2000" dirty="0">
                <a:solidFill>
                  <a:srgbClr val="280071"/>
                </a:solidFill>
                <a:latin typeface="Tietoevry Sans 1 Light"/>
              </a:rPr>
            </a:br>
            <a:b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280071"/>
                </a:solidFill>
                <a:effectLst/>
                <a:uLnTx/>
                <a:uFillTx/>
                <a:latin typeface="Tietoevry Sans 1 Light"/>
                <a:ea typeface="+mj-ea"/>
                <a:cs typeface="+mj-cs"/>
              </a:rPr>
            </a:br>
            <a:endParaRPr lang="nb-NO" sz="2000" dirty="0"/>
          </a:p>
        </p:txBody>
      </p:sp>
    </p:spTree>
    <p:extLst>
      <p:ext uri="{BB962C8B-B14F-4D97-AF65-F5344CB8AC3E}">
        <p14:creationId xmlns:p14="http://schemas.microsoft.com/office/powerpoint/2010/main" val="8903508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0" descr="preencoded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Shape 0"/>
          <p:cNvSpPr/>
          <p:nvPr/>
        </p:nvSpPr>
        <p:spPr>
          <a:xfrm>
            <a:off x="0" y="-8021"/>
            <a:ext cx="9189479" cy="5143500"/>
          </a:xfrm>
          <a:prstGeom prst="rect">
            <a:avLst/>
          </a:prstGeom>
          <a:solidFill>
            <a:srgbClr val="FFFFFF">
              <a:alpha val="75000"/>
            </a:srgbClr>
          </a:solidFill>
          <a:ln w="13811">
            <a:solidFill>
              <a:srgbClr val="FFFFFF">
                <a:alpha val="64000"/>
              </a:srgbClr>
            </a:solidFill>
            <a:prstDash val="solid"/>
          </a:ln>
        </p:spPr>
        <p:txBody>
          <a:bodyPr/>
          <a:lstStyle/>
          <a:p>
            <a:pPr marL="0" marR="0" lvl="0" indent="0" algn="l" defTabSz="5715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2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Image 1" descr="preencoded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8000" y="0"/>
            <a:ext cx="2286000" cy="5143500"/>
          </a:xfrm>
          <a:prstGeom prst="rect">
            <a:avLst/>
          </a:prstGeom>
        </p:spPr>
      </p:pic>
      <p:sp>
        <p:nvSpPr>
          <p:cNvPr id="5" name="Text 1"/>
          <p:cNvSpPr/>
          <p:nvPr/>
        </p:nvSpPr>
        <p:spPr>
          <a:xfrm>
            <a:off x="543490" y="439636"/>
            <a:ext cx="5816501" cy="867966"/>
          </a:xfrm>
          <a:prstGeom prst="rect">
            <a:avLst/>
          </a:prstGeom>
          <a:noFill/>
          <a:ln/>
        </p:spPr>
        <p:txBody>
          <a:bodyPr wrap="square" rtlCol="0" anchor="t"/>
          <a:lstStyle/>
          <a:p>
            <a:pPr marL="0" marR="0" lvl="0" indent="0" algn="l" defTabSz="571500" rtl="0" eaLnBrk="1" fontAlgn="auto" latinLnBrk="0" hangingPunct="1">
              <a:lnSpc>
                <a:spcPts val="341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34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22-mackinac-pro" pitchFamily="34" charset="0"/>
                <a:ea typeface="p22-mackinac-pro" pitchFamily="34" charset="-122"/>
                <a:cs typeface="p22-mackinac-pro" pitchFamily="34" charset="-120"/>
              </a:rPr>
              <a:t>1. </a:t>
            </a:r>
            <a:r>
              <a:rPr kumimoji="0" lang="nb-NO" sz="2734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22-mackinac-pro" pitchFamily="34" charset="0"/>
                <a:ea typeface="p22-mackinac-pro" pitchFamily="34" charset="-122"/>
                <a:cs typeface="p22-mackinac-pro" pitchFamily="34" charset="-120"/>
              </a:rPr>
              <a:t>Støtte kvalitet og åpenhet i offentlige beslutninger</a:t>
            </a:r>
            <a:endParaRPr kumimoji="0" lang="en-US" sz="273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 6"/>
          <p:cNvSpPr/>
          <p:nvPr/>
        </p:nvSpPr>
        <p:spPr>
          <a:xfrm>
            <a:off x="1492820" y="2062386"/>
            <a:ext cx="4805363" cy="216991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marR="0" lvl="0" indent="0" algn="l" defTabSz="571500" rtl="0" eaLnBrk="1" fontAlgn="auto" latinLnBrk="0" hangingPunct="1">
              <a:lnSpc>
                <a:spcPts val="170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="1" dirty="0">
                <a:solidFill>
                  <a:srgbClr val="272525"/>
                </a:solidFill>
                <a:latin typeface="p22-mackinac-pro" pitchFamily="34" charset="0"/>
                <a:ea typeface="p22-mackinac-pro" pitchFamily="34" charset="-122"/>
                <a:cs typeface="p22-mackinac-pro" pitchFamily="34" charset="-120"/>
              </a:rPr>
              <a:t>Integrert analyse av sensitive data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 7"/>
          <p:cNvSpPr/>
          <p:nvPr/>
        </p:nvSpPr>
        <p:spPr>
          <a:xfrm>
            <a:off x="1728048" y="2308191"/>
            <a:ext cx="4844430" cy="222126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marR="0" lvl="0" indent="0" algn="l" defTabSz="571500" rtl="0" eaLnBrk="1" fontAlgn="auto" latinLnBrk="0" hangingPunct="1">
              <a:lnSpc>
                <a:spcPts val="174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Eudoxus Sans" pitchFamily="34" charset="0"/>
                <a:ea typeface="Eudoxus Sans" pitchFamily="34" charset="-122"/>
                <a:cs typeface="Eudoxus Sans" pitchFamily="34" charset="-120"/>
              </a:rPr>
              <a:t>I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Eudoxus Sans" pitchFamily="34" charset="0"/>
                <a:ea typeface="Eudoxus Sans" pitchFamily="34" charset="-122"/>
                <a:cs typeface="Eudoxus Sans" pitchFamily="34" charset="-120"/>
              </a:rPr>
              <a:t>produksjon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Eudoxus Sans" pitchFamily="34" charset="0"/>
                <a:ea typeface="Eudoxus Sans" pitchFamily="34" charset="-122"/>
                <a:cs typeface="Eudoxus Sans" pitchFamily="34" charset="-12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Eudoxus Sans" pitchFamily="34" charset="0"/>
                <a:ea typeface="Eudoxus Sans" pitchFamily="34" charset="-122"/>
                <a:cs typeface="Eudoxus Sans" pitchFamily="34" charset="-120"/>
              </a:rPr>
              <a:t>siden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Eudoxus Sans" pitchFamily="34" charset="0"/>
                <a:ea typeface="Eudoxus Sans" pitchFamily="34" charset="-122"/>
                <a:cs typeface="Eudoxus Sans" pitchFamily="34" charset="-120"/>
              </a:rPr>
              <a:t> 2022 med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Eudoxus Sans" pitchFamily="34" charset="0"/>
                <a:ea typeface="Eudoxus Sans" pitchFamily="34" charset="-122"/>
                <a:cs typeface="Eudoxus Sans" pitchFamily="34" charset="-120"/>
              </a:rPr>
              <a:t>tradisjonel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Eudoxus Sans" pitchFamily="34" charset="0"/>
                <a:ea typeface="Eudoxus Sans" pitchFamily="34" charset="-122"/>
                <a:cs typeface="Eudoxus Sans" pitchFamily="34" charset="-120"/>
              </a:rPr>
              <a:t> ML</a:t>
            </a:r>
          </a:p>
          <a:p>
            <a:pPr marL="0" marR="0" lvl="0" indent="0" algn="l" defTabSz="571500" rtl="0" eaLnBrk="1" fontAlgn="auto" latinLnBrk="0" hangingPunct="1">
              <a:lnSpc>
                <a:spcPts val="174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272525"/>
                </a:solidFill>
                <a:latin typeface="Eudoxus Sans" pitchFamily="34" charset="0"/>
                <a:ea typeface="Eudoxus Sans" pitchFamily="34" charset="-122"/>
              </a:rPr>
              <a:t>Generative KI: </a:t>
            </a:r>
            <a:r>
              <a:rPr lang="en-US" sz="1400" dirty="0">
                <a:solidFill>
                  <a:srgbClr val="272525"/>
                </a:solidFill>
                <a:latin typeface="Eudoxus Sans" pitchFamily="34" charset="0"/>
                <a:ea typeface="Eudoxus Sans" pitchFamily="34" charset="-122"/>
              </a:rPr>
              <a:t>	</a:t>
            </a:r>
            <a:r>
              <a:rPr lang="en-US" sz="1400" dirty="0" err="1">
                <a:solidFill>
                  <a:srgbClr val="272525"/>
                </a:solidFill>
                <a:latin typeface="Eudoxus Sans" pitchFamily="34" charset="0"/>
                <a:ea typeface="Eudoxus Sans" pitchFamily="34" charset="-122"/>
              </a:rPr>
              <a:t>Analyse</a:t>
            </a:r>
            <a:r>
              <a:rPr lang="en-US" sz="1400" dirty="0">
                <a:solidFill>
                  <a:srgbClr val="272525"/>
                </a:solidFill>
                <a:latin typeface="Eudoxus Sans" pitchFamily="34" charset="0"/>
                <a:ea typeface="Eudoxus Sans" pitchFamily="34" charset="-122"/>
              </a:rPr>
              <a:t> av “</a:t>
            </a:r>
            <a:r>
              <a:rPr lang="en-US" sz="1400" dirty="0" err="1">
                <a:solidFill>
                  <a:srgbClr val="272525"/>
                </a:solidFill>
                <a:latin typeface="Eudoxus Sans" pitchFamily="34" charset="0"/>
                <a:ea typeface="Eudoxus Sans" pitchFamily="34" charset="-122"/>
              </a:rPr>
              <a:t>personlig</a:t>
            </a:r>
            <a:r>
              <a:rPr lang="en-US" sz="1400" dirty="0">
                <a:solidFill>
                  <a:srgbClr val="272525"/>
                </a:solidFill>
                <a:latin typeface="Eudoxus Sans" pitchFamily="34" charset="0"/>
                <a:ea typeface="Eudoxus Sans" pitchFamily="34" charset="-122"/>
              </a:rPr>
              <a:t> </a:t>
            </a:r>
            <a:r>
              <a:rPr lang="en-US" sz="1400" dirty="0" err="1">
                <a:solidFill>
                  <a:srgbClr val="272525"/>
                </a:solidFill>
                <a:latin typeface="Eudoxus Sans" pitchFamily="34" charset="0"/>
                <a:ea typeface="Eudoxus Sans" pitchFamily="34" charset="-122"/>
              </a:rPr>
              <a:t>kontekst</a:t>
            </a:r>
            <a:r>
              <a:rPr lang="en-US" sz="1400" dirty="0">
                <a:solidFill>
                  <a:srgbClr val="272525"/>
                </a:solidFill>
                <a:latin typeface="Eudoxus Sans" pitchFamily="34" charset="0"/>
                <a:ea typeface="Eudoxus Sans" pitchFamily="34" charset="-122"/>
              </a:rPr>
              <a:t>” i </a:t>
            </a:r>
            <a:r>
              <a:rPr lang="en-US" sz="1400" dirty="0" err="1">
                <a:solidFill>
                  <a:srgbClr val="272525"/>
                </a:solidFill>
                <a:latin typeface="Eudoxus Sans" pitchFamily="34" charset="0"/>
                <a:ea typeface="Eudoxus Sans" pitchFamily="34" charset="-122"/>
              </a:rPr>
              <a:t>dokumenter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 11"/>
          <p:cNvSpPr/>
          <p:nvPr/>
        </p:nvSpPr>
        <p:spPr>
          <a:xfrm>
            <a:off x="1492820" y="3001343"/>
            <a:ext cx="4614863" cy="216991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marL="0" marR="0" lvl="0" indent="0" algn="l" defTabSz="571500" rtl="0" eaLnBrk="1" fontAlgn="auto" latinLnBrk="0" hangingPunct="1">
              <a:lnSpc>
                <a:spcPts val="170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b="1" i="0" u="none" strike="noStrike" kern="1200" cap="none" spc="0" normalizeH="0" baseline="0" dirty="0">
                <a:ln>
                  <a:noFill/>
                </a:ln>
                <a:solidFill>
                  <a:srgbClr val="272525"/>
                </a:solidFill>
                <a:effectLst/>
                <a:uLnTx/>
                <a:uFillTx/>
                <a:latin typeface="p22-mackinac-pro" pitchFamily="34" charset="0"/>
                <a:ea typeface="p22-mackinac-pro" pitchFamily="34" charset="-122"/>
                <a:cs typeface="p22-mackinac-pro" pitchFamily="34" charset="-120"/>
              </a:rPr>
              <a:t>Referanse beslutninger</a:t>
            </a:r>
            <a:endParaRPr kumimoji="0" lang="nb-NO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 12"/>
          <p:cNvSpPr/>
          <p:nvPr/>
        </p:nvSpPr>
        <p:spPr>
          <a:xfrm>
            <a:off x="1728048" y="3262069"/>
            <a:ext cx="4844430" cy="222126"/>
          </a:xfrm>
          <a:prstGeom prst="rect">
            <a:avLst/>
          </a:prstGeom>
          <a:noFill/>
          <a:ln/>
        </p:spPr>
        <p:txBody>
          <a:bodyPr wrap="none" rtlCol="0" anchor="t"/>
          <a:lstStyle/>
          <a:p>
            <a:pPr defTabSz="571500">
              <a:lnSpc>
                <a:spcPts val="1749"/>
              </a:lnSpc>
              <a:defRPr/>
            </a:pPr>
            <a:r>
              <a:rPr lang="nb-NO" sz="1400" b="1" dirty="0">
                <a:solidFill>
                  <a:srgbClr val="272525"/>
                </a:solidFill>
                <a:latin typeface="Eudoxus Sans" pitchFamily="34" charset="0"/>
                <a:ea typeface="Eudoxus Sans" pitchFamily="34" charset="-122"/>
              </a:rPr>
              <a:t>Generative KI: </a:t>
            </a:r>
            <a:r>
              <a:rPr lang="nb-NO" sz="1400" dirty="0">
                <a:solidFill>
                  <a:srgbClr val="272525"/>
                </a:solidFill>
                <a:latin typeface="Eudoxus Sans" pitchFamily="34" charset="0"/>
                <a:ea typeface="Eudoxus Sans" pitchFamily="34" charset="-122"/>
              </a:rPr>
              <a:t>	Analyse innhold og sammenheng </a:t>
            </a:r>
            <a:br>
              <a:rPr lang="nb-NO" sz="1400" dirty="0">
                <a:solidFill>
                  <a:srgbClr val="272525"/>
                </a:solidFill>
                <a:latin typeface="Eudoxus Sans" pitchFamily="34" charset="0"/>
                <a:ea typeface="Eudoxus Sans" pitchFamily="34" charset="-122"/>
              </a:rPr>
            </a:br>
            <a:r>
              <a:rPr lang="nb-NO" sz="1400" dirty="0">
                <a:solidFill>
                  <a:srgbClr val="272525"/>
                </a:solidFill>
                <a:latin typeface="Eudoxus Sans" pitchFamily="34" charset="0"/>
                <a:ea typeface="Eudoxus Sans" pitchFamily="34" charset="-122"/>
              </a:rPr>
              <a:t>		av flere dokumenter</a:t>
            </a:r>
            <a:endParaRPr kumimoji="0" lang="nb-NO" sz="140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BD1D02-DE38-4E4B-A71C-29606C7CA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9" y="231776"/>
            <a:ext cx="8049417" cy="485292"/>
          </a:xfrm>
        </p:spPr>
        <p:txBody>
          <a:bodyPr/>
          <a:lstStyle/>
          <a:p>
            <a:r>
              <a:rPr lang="nb-NO" dirty="0"/>
              <a:t>Integrert sensitivitetsanalyse i Public 360°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E2BBF36-3997-477E-9E32-BA1A384D57B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3271" y="717067"/>
            <a:ext cx="8990729" cy="4072331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54DC68-094C-4954-A59E-7A003DE8F1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E25E67-CBB9-434B-BBF7-0A5E970272B8}" type="slidenum">
              <a:rPr kumimoji="0" lang="nb-NO" sz="700" b="0" i="0" u="none" strike="noStrike" kern="1200" cap="none" spc="0" normalizeH="0" baseline="0" noProof="0" smtClean="0">
                <a:ln>
                  <a:noFill/>
                </a:ln>
                <a:solidFill>
                  <a:srgbClr val="BEBEBE"/>
                </a:solidFill>
                <a:effectLst/>
                <a:uLnTx/>
                <a:uFillTx/>
                <a:latin typeface="Tietoevry Sans 1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700" b="0" i="0" u="none" strike="noStrike" kern="1200" cap="none" spc="0" normalizeH="0" baseline="0" noProof="0">
              <a:ln>
                <a:noFill/>
              </a:ln>
              <a:solidFill>
                <a:srgbClr val="BEBEBE"/>
              </a:solidFill>
              <a:effectLst/>
              <a:uLnTx/>
              <a:uFillTx/>
              <a:latin typeface="Tietoevry Sans 1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71721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 U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 U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 U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VkR.qHRKiMNYOZFaTW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 U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 U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 U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 U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 U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 U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 US"/>
</p:tagLst>
</file>

<file path=ppt/theme/theme1.xml><?xml version="1.0" encoding="utf-8"?>
<a:theme xmlns:a="http://schemas.openxmlformats.org/drawingml/2006/main" name="Tietoevry">
  <a:themeElements>
    <a:clrScheme name="Titeto Every 220420">
      <a:dk1>
        <a:sysClr val="windowText" lastClr="000000"/>
      </a:dk1>
      <a:lt1>
        <a:sysClr val="window" lastClr="FFFFFF"/>
      </a:lt1>
      <a:dk2>
        <a:srgbClr val="F9423A"/>
      </a:dk2>
      <a:lt2>
        <a:srgbClr val="26D07C"/>
      </a:lt2>
      <a:accent1>
        <a:srgbClr val="280071"/>
      </a:accent1>
      <a:accent2>
        <a:srgbClr val="B1B5CE"/>
      </a:accent2>
      <a:accent3>
        <a:srgbClr val="E0E1EB"/>
      </a:accent3>
      <a:accent4>
        <a:srgbClr val="F7EAE4"/>
      </a:accent4>
      <a:accent5>
        <a:srgbClr val="EACBBB"/>
      </a:accent5>
      <a:accent6>
        <a:srgbClr val="6E6259"/>
      </a:accent6>
      <a:hlink>
        <a:srgbClr val="000000"/>
      </a:hlink>
      <a:folHlink>
        <a:srgbClr val="000000"/>
      </a:folHlink>
    </a:clrScheme>
    <a:fontScheme name="TietoEvry 2023">
      <a:majorFont>
        <a:latin typeface="Tietoevry Sans 1 Light"/>
        <a:ea typeface=""/>
        <a:cs typeface=""/>
      </a:majorFont>
      <a:minorFont>
        <a:latin typeface="Tietoevry Sans 1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 sz="1100" dirty="0" err="1" smtClean="0">
            <a:solidFill>
              <a:schemeClr val="accent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 algn="l">
          <a:defRPr sz="1100" dirty="0" err="1" smtClean="0"/>
        </a:defPPr>
      </a:lstStyle>
    </a:txDef>
  </a:objectDefaults>
  <a:extraClrSchemeLst/>
  <a:custClrLst>
    <a:custClr name="Warm Gray">
      <a:srgbClr val="6E6259"/>
    </a:custClr>
    <a:custClr name="Warm Gray 90%">
      <a:srgbClr val="7B7168"/>
    </a:custClr>
    <a:custClr name="Warm Gray 80%">
      <a:srgbClr val="8B807C"/>
    </a:custClr>
    <a:custClr name="Warm Gray 70%">
      <a:srgbClr val="9C918C"/>
    </a:custClr>
    <a:custClr name="Warm Gray 60%">
      <a:srgbClr val="A9A09B"/>
    </a:custClr>
    <a:custClr name="Warm Gray 50%">
      <a:srgbClr val="B6B1AE"/>
    </a:custClr>
    <a:custClr name="Warm Gray 40%">
      <a:srgbClr val="C5C0BD"/>
    </a:custClr>
    <a:custClr name="Warm Gray 30%">
      <a:srgbClr val="D4D0CD"/>
    </a:custClr>
    <a:custClr name="Warm Gray 20%">
      <a:srgbClr val="E2E0DE"/>
    </a:custClr>
    <a:custClr name="Warm Gray 10%">
      <a:srgbClr val="F1EFED"/>
    </a:custClr>
    <a:custClr name="Hero Red">
      <a:srgbClr val="F9423A"/>
    </a:custClr>
    <a:custClr name="Maroon">
      <a:srgbClr val="64302F"/>
    </a:custClr>
    <a:custClr name="Peach">
      <a:srgbClr val="EACBBB"/>
    </a:custClr>
    <a:custClr name="Peach 40%">
      <a:srgbClr val="F7EAE4"/>
    </a:custClr>
    <a:custClr name="Peach 30%">
      <a:srgbClr val="FAF5F1"/>
    </a:custClr>
    <a:custClr name="Peach 20%">
      <a:srgbClr val="FCF8F5"/>
    </a:custClr>
    <a:custClr name="Peach 10%">
      <a:srgbClr val="FEFAF9"/>
    </a:custClr>
    <a:custClr name="White">
      <a:srgbClr val="FFFFFF"/>
    </a:custClr>
    <a:custClr name="CTA Yellow">
      <a:srgbClr val="E9EC6B"/>
    </a:custClr>
    <a:custClr name="Warm Gray 5%">
      <a:srgbClr val="F9F6F8"/>
    </a:custClr>
    <a:custClr name="Cool Gray">
      <a:srgbClr val="52565A"/>
    </a:custClr>
    <a:custClr name="Cool Gray 90%">
      <a:srgbClr val="63676A"/>
    </a:custClr>
    <a:custClr name="Cool Gray 80%">
      <a:srgbClr val="74787B"/>
    </a:custClr>
    <a:custClr name="Cool Gray 70%">
      <a:srgbClr val="86888B"/>
    </a:custClr>
    <a:custClr name="Cool Gray 60%">
      <a:srgbClr val="989A9C"/>
    </a:custClr>
    <a:custClr name="Cool Gray 50%">
      <a:srgbClr val="A9AAAC"/>
    </a:custClr>
    <a:custClr name="Cool Gray 40%">
      <a:srgbClr val="CBCCCD"/>
    </a:custClr>
    <a:custClr name="Cool Gray 30%">
      <a:srgbClr val="D4D5D5"/>
    </a:custClr>
    <a:custClr name="Cool Gray 20%">
      <a:srgbClr val="DDDDDE"/>
    </a:custClr>
    <a:custClr name="Cool Gray 10%">
      <a:srgbClr val="EDEEEE"/>
    </a:custClr>
    <a:custClr name="Black">
      <a:srgbClr val="000000"/>
    </a:custClr>
    <a:custClr name="Dark Blue">
      <a:srgbClr val="0C1D48"/>
    </a:custClr>
    <a:custClr name="Hero Blue">
      <a:srgbClr val="280071"/>
    </a:custClr>
    <a:custClr name="Violet">
      <a:srgbClr val="B1B5CE"/>
    </a:custClr>
    <a:custClr name="Violet 40%">
      <a:srgbClr val="E0E1EB"/>
    </a:custClr>
    <a:custClr name="Violet 30%">
      <a:srgbClr val="E7E9F0"/>
    </a:custClr>
    <a:custClr name="Violet 20%">
      <a:srgbClr val="EFF1F5"/>
    </a:custClr>
    <a:custClr name="Violet 10%">
      <a:srgbClr val="F8F7FF"/>
    </a:custClr>
    <a:custClr name="CTA Green">
      <a:srgbClr val="26D07C"/>
    </a:custClr>
    <a:custClr name="Cool Gray 5%">
      <a:srgbClr val="F6F6F8"/>
    </a:custClr>
  </a:custClrLst>
  <a:extLst>
    <a:ext uri="{05A4C25C-085E-4340-85A3-A5531E510DB2}">
      <thm15:themeFamily xmlns:thm15="http://schemas.microsoft.com/office/thememl/2012/main" name="Tietoevry_101123" id="{E5600E7E-768D-4793-A3AB-48CAEE9AE71E}" vid="{EA77E28B-1186-478F-A83E-94954F99139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Tieto Evry">
  <a:themeElements>
    <a:clrScheme name="Titeto Every ny">
      <a:dk1>
        <a:sysClr val="windowText" lastClr="000000"/>
      </a:dk1>
      <a:lt1>
        <a:sysClr val="window" lastClr="FFFFFF"/>
      </a:lt1>
      <a:dk2>
        <a:srgbClr val="280071"/>
      </a:dk2>
      <a:lt2>
        <a:srgbClr val="B1B5CE"/>
      </a:lt2>
      <a:accent1>
        <a:srgbClr val="F9423A"/>
      </a:accent1>
      <a:accent2>
        <a:srgbClr val="EACBBB"/>
      </a:accent2>
      <a:accent3>
        <a:srgbClr val="F7EAE4"/>
      </a:accent3>
      <a:accent4>
        <a:srgbClr val="6E6259"/>
      </a:accent4>
      <a:accent5>
        <a:srgbClr val="26D07C"/>
      </a:accent5>
      <a:accent6>
        <a:srgbClr val="E9EC6B"/>
      </a:accent6>
      <a:hlink>
        <a:srgbClr val="000000"/>
      </a:hlink>
      <a:folHlink>
        <a:srgbClr val="000000"/>
      </a:folHlink>
    </a:clrScheme>
    <a:fontScheme name="TietoEvry -TietoSans">
      <a:majorFont>
        <a:latin typeface="Tietoevry Sans 1 Light"/>
        <a:ea typeface=""/>
        <a:cs typeface=""/>
      </a:majorFont>
      <a:minorFont>
        <a:latin typeface="Tietoevry Sans 1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ietoevery_template_23122021.potx.potx" id="{75C75971-C652-4CFB-95DA-87983EB53B73}" vid="{4BE16A83-2A2B-4C2A-8A3C-FA019DFB09A9}"/>
    </a:ext>
  </a:extLst>
</a:theme>
</file>

<file path=ppt/theme/theme4.xml><?xml version="1.0" encoding="utf-8"?>
<a:theme xmlns:a="http://schemas.openxmlformats.org/drawingml/2006/main" name="2_Tietoevry">
  <a:themeElements>
    <a:clrScheme name="Titeto Every 220420">
      <a:dk1>
        <a:sysClr val="windowText" lastClr="000000"/>
      </a:dk1>
      <a:lt1>
        <a:sysClr val="window" lastClr="FFFFFF"/>
      </a:lt1>
      <a:dk2>
        <a:srgbClr val="F9423A"/>
      </a:dk2>
      <a:lt2>
        <a:srgbClr val="26D07C"/>
      </a:lt2>
      <a:accent1>
        <a:srgbClr val="280071"/>
      </a:accent1>
      <a:accent2>
        <a:srgbClr val="B1B5CE"/>
      </a:accent2>
      <a:accent3>
        <a:srgbClr val="E0E1EB"/>
      </a:accent3>
      <a:accent4>
        <a:srgbClr val="F7EAE4"/>
      </a:accent4>
      <a:accent5>
        <a:srgbClr val="EACBBB"/>
      </a:accent5>
      <a:accent6>
        <a:srgbClr val="6E6259"/>
      </a:accent6>
      <a:hlink>
        <a:srgbClr val="000000"/>
      </a:hlink>
      <a:folHlink>
        <a:srgbClr val="000000"/>
      </a:folHlink>
    </a:clrScheme>
    <a:fontScheme name="TietoEvry -TietoSans">
      <a:majorFont>
        <a:latin typeface="Tietoevry Sans 1 Light"/>
        <a:ea typeface=""/>
        <a:cs typeface=""/>
      </a:majorFont>
      <a:minorFont>
        <a:latin typeface="Tietoevry Sans 1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 algn="l">
          <a:defRPr dirty="0" err="1"/>
        </a:defPPr>
      </a:lstStyle>
    </a:txDef>
  </a:objectDefaults>
  <a:extraClrSchemeLst/>
  <a:custClrLst>
    <a:custClr name="Warm Gray">
      <a:srgbClr val="6E6259"/>
    </a:custClr>
    <a:custClr name="Warm Gray 90%">
      <a:srgbClr val="7B7168"/>
    </a:custClr>
    <a:custClr name="Warm Gray 80%">
      <a:srgbClr val="8B807C"/>
    </a:custClr>
    <a:custClr name="Warm Gray 70%">
      <a:srgbClr val="9C918C"/>
    </a:custClr>
    <a:custClr name="Warm Gray 60%">
      <a:srgbClr val="A9A09B"/>
    </a:custClr>
    <a:custClr name="Warm Gray 50%">
      <a:srgbClr val="B6B1AE"/>
    </a:custClr>
    <a:custClr name="Warm Gray 40%">
      <a:srgbClr val="C5C0BD"/>
    </a:custClr>
    <a:custClr name="Warm Gray 30%">
      <a:srgbClr val="D4D0CD"/>
    </a:custClr>
    <a:custClr name="Warm Gray 20%">
      <a:srgbClr val="E2E0DE"/>
    </a:custClr>
    <a:custClr name="Warm Gray 10%">
      <a:srgbClr val="F1EFED"/>
    </a:custClr>
    <a:custClr name="Hero Red">
      <a:srgbClr val="F9423A"/>
    </a:custClr>
    <a:custClr name="Maroon">
      <a:srgbClr val="64302F"/>
    </a:custClr>
    <a:custClr name="Peach">
      <a:srgbClr val="EACBBB"/>
    </a:custClr>
    <a:custClr name="Peach 40%">
      <a:srgbClr val="F7EAE4"/>
    </a:custClr>
    <a:custClr name="Peach 30%">
      <a:srgbClr val="FAF5F1"/>
    </a:custClr>
    <a:custClr name="Peach 20%">
      <a:srgbClr val="FCF8F5"/>
    </a:custClr>
    <a:custClr name="Peach 10%">
      <a:srgbClr val="FEFAF9"/>
    </a:custClr>
    <a:custClr name="White">
      <a:srgbClr val="FFFFFF"/>
    </a:custClr>
    <a:custClr name="CTA Yellow">
      <a:srgbClr val="E9EC6B"/>
    </a:custClr>
    <a:custClr name="Warm Gray 5%">
      <a:srgbClr val="F9F6F8"/>
    </a:custClr>
    <a:custClr name="Cool Gray">
      <a:srgbClr val="52565A"/>
    </a:custClr>
    <a:custClr name="Cool Gray 90%">
      <a:srgbClr val="63676A"/>
    </a:custClr>
    <a:custClr name="Cool Gray 80%">
      <a:srgbClr val="74787B"/>
    </a:custClr>
    <a:custClr name="Cool Gray 70%">
      <a:srgbClr val="86888B"/>
    </a:custClr>
    <a:custClr name="Cool Gray 60%">
      <a:srgbClr val="989A9C"/>
    </a:custClr>
    <a:custClr name="Cool Gray 50%">
      <a:srgbClr val="A9AAAC"/>
    </a:custClr>
    <a:custClr name="Cool Gray 40%">
      <a:srgbClr val="CBCCCD"/>
    </a:custClr>
    <a:custClr name="Cool Gray 30%">
      <a:srgbClr val="D4D5D5"/>
    </a:custClr>
    <a:custClr name="Cool Gray 20%">
      <a:srgbClr val="DDDDDE"/>
    </a:custClr>
    <a:custClr name="Cool Gray 10%">
      <a:srgbClr val="EDEEEE"/>
    </a:custClr>
    <a:custClr name="Black">
      <a:srgbClr val="000000"/>
    </a:custClr>
    <a:custClr name="Dark Blue">
      <a:srgbClr val="0C1D48"/>
    </a:custClr>
    <a:custClr name="Hero Blue">
      <a:srgbClr val="280071"/>
    </a:custClr>
    <a:custClr name="Violet">
      <a:srgbClr val="B1B5CE"/>
    </a:custClr>
    <a:custClr name="Violet 40%">
      <a:srgbClr val="E0E1EB"/>
    </a:custClr>
    <a:custClr name="Violet 30%">
      <a:srgbClr val="E7E9F0"/>
    </a:custClr>
    <a:custClr name="Violet 20%">
      <a:srgbClr val="EFF1F5"/>
    </a:custClr>
    <a:custClr name="Violet 10%">
      <a:srgbClr val="F8F7FF"/>
    </a:custClr>
    <a:custClr name="CTA Green">
      <a:srgbClr val="26D07C"/>
    </a:custClr>
    <a:custClr name="Cool Gray 5%">
      <a:srgbClr val="F6F6F8"/>
    </a:custClr>
  </a:custClrLst>
  <a:extLst>
    <a:ext uri="{05A4C25C-085E-4340-85A3-A5531E510DB2}">
      <thm15:themeFamily xmlns:thm15="http://schemas.microsoft.com/office/thememl/2012/main" name="Tietoevry.potx" id="{DF39A397-2956-4AC2-8607-4E2FE8F29DA6}" vid="{7E78BABA-3C2C-454C-A981-B73D1D1EAAD3}"/>
    </a:ext>
  </a:extLst>
</a:theme>
</file>

<file path=ppt/theme/theme5.xml><?xml version="1.0" encoding="utf-8"?>
<a:theme xmlns:a="http://schemas.openxmlformats.org/drawingml/2006/main" name="Tieto Evry">
  <a:themeElements>
    <a:clrScheme name="Titeto Every ny">
      <a:dk1>
        <a:sysClr val="windowText" lastClr="000000"/>
      </a:dk1>
      <a:lt1>
        <a:sysClr val="window" lastClr="FFFFFF"/>
      </a:lt1>
      <a:dk2>
        <a:srgbClr val="280071"/>
      </a:dk2>
      <a:lt2>
        <a:srgbClr val="B1B5CE"/>
      </a:lt2>
      <a:accent1>
        <a:srgbClr val="F9423A"/>
      </a:accent1>
      <a:accent2>
        <a:srgbClr val="EACBBB"/>
      </a:accent2>
      <a:accent3>
        <a:srgbClr val="F7EAE4"/>
      </a:accent3>
      <a:accent4>
        <a:srgbClr val="6E6259"/>
      </a:accent4>
      <a:accent5>
        <a:srgbClr val="26D07C"/>
      </a:accent5>
      <a:accent6>
        <a:srgbClr val="E9EC6B"/>
      </a:accent6>
      <a:hlink>
        <a:srgbClr val="000000"/>
      </a:hlink>
      <a:folHlink>
        <a:srgbClr val="000000"/>
      </a:folHlink>
    </a:clrScheme>
    <a:fontScheme name="TietoEvry -TietoSans">
      <a:majorFont>
        <a:latin typeface="Tietoevry Sans 1 Light"/>
        <a:ea typeface=""/>
        <a:cs typeface=""/>
      </a:majorFont>
      <a:minorFont>
        <a:latin typeface="Tietoevry Sans 1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ietoevery_template_23122021.potx.potx" id="{75C75971-C652-4CFB-95DA-87983EB53B73}" vid="{4BE16A83-2A2B-4C2A-8A3C-FA019DFB09A9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Gray">
      <a:srgbClr val="6E6259"/>
    </a:custClr>
    <a:custClr name="Warm Gray 90%">
      <a:srgbClr val="7B7168"/>
    </a:custClr>
    <a:custClr name="Warm Gray 80%">
      <a:srgbClr val="8B807C"/>
    </a:custClr>
    <a:custClr name="Warm Gray 70%">
      <a:srgbClr val="9C918C"/>
    </a:custClr>
    <a:custClr name="Warm Gray 60%">
      <a:srgbClr val="A9A09B"/>
    </a:custClr>
    <a:custClr name="Warm Gray 50%">
      <a:srgbClr val="B6B1AE"/>
    </a:custClr>
    <a:custClr name="Warm Gray 40%">
      <a:srgbClr val="C5C0BD"/>
    </a:custClr>
    <a:custClr name="Warm Gray 30%">
      <a:srgbClr val="D4D0CD"/>
    </a:custClr>
    <a:custClr name="Warm Gray 20%">
      <a:srgbClr val="E2E0DE"/>
    </a:custClr>
    <a:custClr name="Warm Gray 10%">
      <a:srgbClr val="F1EFED"/>
    </a:custClr>
    <a:custClr name="Hero Red">
      <a:srgbClr val="F9423A"/>
    </a:custClr>
    <a:custClr name="Maroon">
      <a:srgbClr val="64302F"/>
    </a:custClr>
    <a:custClr name="Peach">
      <a:srgbClr val="EACBBB"/>
    </a:custClr>
    <a:custClr name="Peach 40%">
      <a:srgbClr val="F7EAE4"/>
    </a:custClr>
    <a:custClr name="Peach 30%">
      <a:srgbClr val="FAF5F1"/>
    </a:custClr>
    <a:custClr name="Peach 20%">
      <a:srgbClr val="FCF8F5"/>
    </a:custClr>
    <a:custClr name="Peach 10%">
      <a:srgbClr val="FEFAF9"/>
    </a:custClr>
    <a:custClr name="White">
      <a:srgbClr val="FFFFFF"/>
    </a:custClr>
    <a:custClr name="CTA Yellow">
      <a:srgbClr val="E9EC6B"/>
    </a:custClr>
    <a:custClr name="Warm Gray 5%">
      <a:srgbClr val="F9F6F8"/>
    </a:custClr>
    <a:custClr name="Cool Gray">
      <a:srgbClr val="52565A"/>
    </a:custClr>
    <a:custClr name="Cool Gray 90%">
      <a:srgbClr val="63676A"/>
    </a:custClr>
    <a:custClr name="Cool Gray 80%">
      <a:srgbClr val="74787B"/>
    </a:custClr>
    <a:custClr name="Cool Gray 70%">
      <a:srgbClr val="86888B"/>
    </a:custClr>
    <a:custClr name="Cool Gray 60%">
      <a:srgbClr val="989A9C"/>
    </a:custClr>
    <a:custClr name="Cool Gray 50%">
      <a:srgbClr val="A9AAAC"/>
    </a:custClr>
    <a:custClr name="Cool Gray 40%">
      <a:srgbClr val="CBCCCD"/>
    </a:custClr>
    <a:custClr name="Cool Gray 30%">
      <a:srgbClr val="D4D5D5"/>
    </a:custClr>
    <a:custClr name="Cool Gray 20%">
      <a:srgbClr val="DDDDDE"/>
    </a:custClr>
    <a:custClr name="Cool Gray 10%">
      <a:srgbClr val="EDEEEE"/>
    </a:custClr>
    <a:custClr name="Black">
      <a:srgbClr val="000000"/>
    </a:custClr>
    <a:custClr name="Dark Blue">
      <a:srgbClr val="0C1D48"/>
    </a:custClr>
    <a:custClr name="Hero Blue">
      <a:srgbClr val="280071"/>
    </a:custClr>
    <a:custClr name="Violet">
      <a:srgbClr val="B1B5CE"/>
    </a:custClr>
    <a:custClr name="Violet 40%">
      <a:srgbClr val="E0E1EB"/>
    </a:custClr>
    <a:custClr name="Violet 30%">
      <a:srgbClr val="E7E9F0"/>
    </a:custClr>
    <a:custClr name="Violet 20%">
      <a:srgbClr val="EFF1F5"/>
    </a:custClr>
    <a:custClr name="Violet 10%">
      <a:srgbClr val="F8F7FF"/>
    </a:custClr>
    <a:custClr name="CTA Green">
      <a:srgbClr val="26D07C"/>
    </a:custClr>
    <a:custClr name="Cool Gray 5%">
      <a:srgbClr val="F6F6F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Warm Gray">
      <a:srgbClr val="6E6259"/>
    </a:custClr>
    <a:custClr name="Warm Gray 90%">
      <a:srgbClr val="7B7168"/>
    </a:custClr>
    <a:custClr name="Warm Gray 80%">
      <a:srgbClr val="8B807C"/>
    </a:custClr>
    <a:custClr name="Warm Gray 70%">
      <a:srgbClr val="9C918C"/>
    </a:custClr>
    <a:custClr name="Warm Gray 60%">
      <a:srgbClr val="A9A09B"/>
    </a:custClr>
    <a:custClr name="Warm Gray 50%">
      <a:srgbClr val="B6B1AE"/>
    </a:custClr>
    <a:custClr name="Warm Gray 40%">
      <a:srgbClr val="C5C0BD"/>
    </a:custClr>
    <a:custClr name="Warm Gray 30%">
      <a:srgbClr val="D4D0CD"/>
    </a:custClr>
    <a:custClr name="Warm Gray 20%">
      <a:srgbClr val="E2E0DE"/>
    </a:custClr>
    <a:custClr name="Warm Gray 10%">
      <a:srgbClr val="F1EFED"/>
    </a:custClr>
    <a:custClr name="Hero Red">
      <a:srgbClr val="F9423A"/>
    </a:custClr>
    <a:custClr name="Maroon">
      <a:srgbClr val="64302F"/>
    </a:custClr>
    <a:custClr name="Peach">
      <a:srgbClr val="EACBBB"/>
    </a:custClr>
    <a:custClr name="Peach 40%">
      <a:srgbClr val="F7EAE4"/>
    </a:custClr>
    <a:custClr name="Peach 30%">
      <a:srgbClr val="FAF5F1"/>
    </a:custClr>
    <a:custClr name="Peach 20%">
      <a:srgbClr val="FCF8F5"/>
    </a:custClr>
    <a:custClr name="Peach 10%">
      <a:srgbClr val="FEFAF9"/>
    </a:custClr>
    <a:custClr name="White">
      <a:srgbClr val="FFFFFF"/>
    </a:custClr>
    <a:custClr name="CTA Yellow">
      <a:srgbClr val="E9EC6B"/>
    </a:custClr>
    <a:custClr name="Warm Gray 5%">
      <a:srgbClr val="F9F6F8"/>
    </a:custClr>
    <a:custClr name="Cool Gray">
      <a:srgbClr val="52565A"/>
    </a:custClr>
    <a:custClr name="Cool Gray 90%">
      <a:srgbClr val="63676A"/>
    </a:custClr>
    <a:custClr name="Cool Gray 80%">
      <a:srgbClr val="74787B"/>
    </a:custClr>
    <a:custClr name="Cool Gray 70%">
      <a:srgbClr val="86888B"/>
    </a:custClr>
    <a:custClr name="Cool Gray 60%">
      <a:srgbClr val="989A9C"/>
    </a:custClr>
    <a:custClr name="Cool Gray 50%">
      <a:srgbClr val="A9AAAC"/>
    </a:custClr>
    <a:custClr name="Cool Gray 40%">
      <a:srgbClr val="CBCCCD"/>
    </a:custClr>
    <a:custClr name="Cool Gray 30%">
      <a:srgbClr val="D4D5D5"/>
    </a:custClr>
    <a:custClr name="Cool Gray 20%">
      <a:srgbClr val="DDDDDE"/>
    </a:custClr>
    <a:custClr name="Cool Gray 10%">
      <a:srgbClr val="EDEEEE"/>
    </a:custClr>
    <a:custClr name="Black">
      <a:srgbClr val="000000"/>
    </a:custClr>
    <a:custClr name="Dark Blue">
      <a:srgbClr val="0C1D48"/>
    </a:custClr>
    <a:custClr name="Hero Blue">
      <a:srgbClr val="280071"/>
    </a:custClr>
    <a:custClr name="Violet">
      <a:srgbClr val="B1B5CE"/>
    </a:custClr>
    <a:custClr name="Violet 40%">
      <a:srgbClr val="E0E1EB"/>
    </a:custClr>
    <a:custClr name="Violet 30%">
      <a:srgbClr val="E7E9F0"/>
    </a:custClr>
    <a:custClr name="Violet 20%">
      <a:srgbClr val="EFF1F5"/>
    </a:custClr>
    <a:custClr name="Violet 10%">
      <a:srgbClr val="F8F7FF"/>
    </a:custClr>
    <a:custClr name="CTA Green">
      <a:srgbClr val="26D07C"/>
    </a:custClr>
    <a:custClr name="Cool Gray 5%">
      <a:srgbClr val="F6F6F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a187513-b7a4-4564-a2e1-c976d933c4ab" xsi:nil="true"/>
    <lcf76f155ced4ddcb4097134ff3c332f xmlns="7f9accba-f710-4312-ae18-390f61f14d02">
      <Terms xmlns="http://schemas.microsoft.com/office/infopath/2007/PartnerControls"/>
    </lcf76f155ced4ddcb4097134ff3c332f>
    <SharedWithUsers xmlns="ba187513-b7a4-4564-a2e1-c976d933c4ab">
      <UserInfo>
        <DisplayName>Bent Philipps</DisplayName>
        <AccountId>20</AccountId>
        <AccountType/>
      </UserInfo>
      <UserInfo>
        <DisplayName>Tomas Maesel</DisplayName>
        <AccountId>310</AccountId>
        <AccountType/>
      </UserInfo>
      <UserInfo>
        <DisplayName>Sebastian Reichmann</DisplayName>
        <AccountId>14</AccountId>
        <AccountType/>
      </UserInfo>
      <UserInfo>
        <DisplayName>Maryna Vakulenko</DisplayName>
        <AccountId>156</AccountId>
        <AccountType/>
      </UserInfo>
      <UserInfo>
        <DisplayName>Anette Lindeborg</DisplayName>
        <AccountId>441</AccountId>
        <AccountType/>
      </UserInfo>
    </SharedWithUsers>
  </documentManagement>
</p:properties>
</file>

<file path=customXml/item3.xml><?xml version="1.0" encoding="utf-8"?>
<TemplafyFormConfiguration><![CDATA[{"formFields":[],"formDataEntries":[]}]]></TemplafyFormConfiguration>
</file>

<file path=customXml/item4.xml><?xml version="1.0" encoding="utf-8"?>
<TemplafyTemplateConfiguration><![CDATA[{"elementsMetadata":[],"transformationConfigurations":[],"templateName":"Tietoevry_151123","templateDescription":"","enableDocumentContentUpdater":false,"version":"2.0"}]]></TemplafyTemplateConfiguration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65237A45B927458EB3AE492DCF3701" ma:contentTypeVersion="17" ma:contentTypeDescription="Create a new document." ma:contentTypeScope="" ma:versionID="a28b7ff52f59ff31b32129ce0868f3c7">
  <xsd:schema xmlns:xsd="http://www.w3.org/2001/XMLSchema" xmlns:xs="http://www.w3.org/2001/XMLSchema" xmlns:p="http://schemas.microsoft.com/office/2006/metadata/properties" xmlns:ns2="7f9accba-f710-4312-ae18-390f61f14d02" xmlns:ns3="ba187513-b7a4-4564-a2e1-c976d933c4ab" targetNamespace="http://schemas.microsoft.com/office/2006/metadata/properties" ma:root="true" ma:fieldsID="536b6fc6a0d219c033251683580c9bee" ns2:_="" ns3:_="">
    <xsd:import namespace="7f9accba-f710-4312-ae18-390f61f14d02"/>
    <xsd:import namespace="ba187513-b7a4-4564-a2e1-c976d933c4a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9accba-f710-4312-ae18-390f61f14d0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b9b5fb31-6e74-4bbd-a1b2-5ea6ef8e252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187513-b7a4-4564-a2e1-c976d933c4a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5b5ad3d1-45b8-41c5-aa24-755e96941c86}" ma:internalName="TaxCatchAll" ma:showField="CatchAllData" ma:web="ba187513-b7a4-4564-a2e1-c976d933c4a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TemplateConfiguration><![CDATA[{"slideVersion":1,"isValidatorEnabled":false,"isLocked":false,"elementsMetadata":[],"slideId":"638357225506745783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D4430EB1-8FA9-461B-898A-C76DCC7FE31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5036153-9118-497B-B609-D9F17BBB69B9}">
  <ds:schemaRefs>
    <ds:schemaRef ds:uri="http://schemas.microsoft.com/office/2006/documentManagement/types"/>
    <ds:schemaRef ds:uri="http://purl.org/dc/terms/"/>
    <ds:schemaRef ds:uri="http://schemas.microsoft.com/office/2006/metadata/properties"/>
    <ds:schemaRef ds:uri="http://purl.org/dc/dcmitype/"/>
    <ds:schemaRef ds:uri="http://www.w3.org/XML/1998/namespace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ba187513-b7a4-4564-a2e1-c976d933c4ab"/>
    <ds:schemaRef ds:uri="7f9accba-f710-4312-ae18-390f61f14d02"/>
  </ds:schemaRefs>
</ds:datastoreItem>
</file>

<file path=customXml/itemProps3.xml><?xml version="1.0" encoding="utf-8"?>
<ds:datastoreItem xmlns:ds="http://schemas.openxmlformats.org/officeDocument/2006/customXml" ds:itemID="{160A48F9-E99E-4DD3-BCF0-C383B2EA940A}">
  <ds:schemaRefs/>
</ds:datastoreItem>
</file>

<file path=customXml/itemProps4.xml><?xml version="1.0" encoding="utf-8"?>
<ds:datastoreItem xmlns:ds="http://schemas.openxmlformats.org/officeDocument/2006/customXml" ds:itemID="{EBC05588-44AF-493C-8EF4-0BACAC058714}">
  <ds:schemaRefs/>
</ds:datastoreItem>
</file>

<file path=customXml/itemProps5.xml><?xml version="1.0" encoding="utf-8"?>
<ds:datastoreItem xmlns:ds="http://schemas.openxmlformats.org/officeDocument/2006/customXml" ds:itemID="{F71B8580-80B8-42CB-871E-1B21B347A5D5}">
  <ds:schemaRefs>
    <ds:schemaRef ds:uri="7f9accba-f710-4312-ae18-390f61f14d02"/>
    <ds:schemaRef ds:uri="ba187513-b7a4-4564-a2e1-c976d933c4a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.xml><?xml version="1.0" encoding="utf-8"?>
<ds:datastoreItem xmlns:ds="http://schemas.openxmlformats.org/officeDocument/2006/customXml" ds:itemID="{9DB6DA5B-C99D-4FA8-AB08-B31B25BE1A09}">
  <ds:schemaRefs/>
</ds:datastoreItem>
</file>

<file path=customXml/itemProps7.xml><?xml version="1.0" encoding="utf-8"?>
<ds:datastoreItem xmlns:ds="http://schemas.openxmlformats.org/officeDocument/2006/customXml" ds:itemID="{1853AB52-C35F-41D1-82AE-A43011337B3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ietoevry</Template>
  <TotalTime>11129</TotalTime>
  <Words>859</Words>
  <Application>Microsoft Office PowerPoint</Application>
  <PresentationFormat>On-screen Show (16:9)</PresentationFormat>
  <Paragraphs>190</Paragraphs>
  <Slides>27</Slides>
  <Notes>15</Notes>
  <HiddenSlides>1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4" baseType="lpstr">
      <vt:lpstr>Wingdings</vt:lpstr>
      <vt:lpstr>Tietoevry Sans 1</vt:lpstr>
      <vt:lpstr>Tietoevry Sans 1 Thin</vt:lpstr>
      <vt:lpstr>Calibri</vt:lpstr>
      <vt:lpstr>p22-mackinac-pro</vt:lpstr>
      <vt:lpstr>Roboto</vt:lpstr>
      <vt:lpstr>Arial,Sans-Serif</vt:lpstr>
      <vt:lpstr>Arial</vt:lpstr>
      <vt:lpstr>Tietoevry Sans 1 Medium</vt:lpstr>
      <vt:lpstr>Eudoxus Sans</vt:lpstr>
      <vt:lpstr>Tietoevry Sans 1 Light</vt:lpstr>
      <vt:lpstr>Tietoevry</vt:lpstr>
      <vt:lpstr>Office Theme</vt:lpstr>
      <vt:lpstr>2_Tieto Evry</vt:lpstr>
      <vt:lpstr>2_Tietoevry</vt:lpstr>
      <vt:lpstr>Tieto Evry</vt:lpstr>
      <vt:lpstr>think-cell Slide</vt:lpstr>
      <vt:lpstr>PowerPoint Presentation</vt:lpstr>
      <vt:lpstr>PowerPoint Presentation</vt:lpstr>
      <vt:lpstr>Hvor langt har vi egentlig kommet med digitalisering i offentlig sektor? </vt:lpstr>
      <vt:lpstr>Hvor langt har vi egentlig kommet med digitalisering i offentlig sektor? </vt:lpstr>
      <vt:lpstr>Hva kan Generativ KI bidra med her?</vt:lpstr>
      <vt:lpstr>PowerPoint Presentation</vt:lpstr>
      <vt:lpstr>Offentlige arkivene er den  digitale hukommelse  av offentlige virksomheten og relevant samfunnsområde  </vt:lpstr>
      <vt:lpstr>PowerPoint Presentation</vt:lpstr>
      <vt:lpstr>Integrert sensitivitetsanalyse i Public 360°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ublic 360</vt:lpstr>
      <vt:lpstr>public 360</vt:lpstr>
      <vt:lpstr>LLM RAG</vt:lpstr>
      <vt:lpstr>Kontekst-chunks i RAG</vt:lpstr>
      <vt:lpstr>Arkitektur: Azure OpenAI</vt:lpstr>
      <vt:lpstr>Videre HelpChat</vt:lpstr>
      <vt:lpstr>Andre anvendelser</vt:lpstr>
      <vt:lpstr>Arkitektur: LLM som del av ML-modell</vt:lpstr>
      <vt:lpstr>Generere syntetiske data (sensitive helsedata)</vt:lpstr>
      <vt:lpstr>Strukturert output (function calling/tools)</vt:lpstr>
      <vt:lpstr>Anvendelser av LLM</vt:lpstr>
      <vt:lpstr>Takk!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ristaps Steinbergs</dc:creator>
  <cp:lastModifiedBy>Sebastian Reichmann</cp:lastModifiedBy>
  <cp:revision>4</cp:revision>
  <dcterms:created xsi:type="dcterms:W3CDTF">2023-12-16T00:19:15Z</dcterms:created>
  <dcterms:modified xsi:type="dcterms:W3CDTF">2024-02-14T20:51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3-11-16T09:09:10</vt:lpwstr>
  </property>
  <property fmtid="{D5CDD505-2E9C-101B-9397-08002B2CF9AE}" pid="3" name="TemplafyTenantId">
    <vt:lpwstr>tietoevry</vt:lpwstr>
  </property>
  <property fmtid="{D5CDD505-2E9C-101B-9397-08002B2CF9AE}" pid="4" name="TemplafyTemplateId">
    <vt:lpwstr>778819684790960166</vt:lpwstr>
  </property>
  <property fmtid="{D5CDD505-2E9C-101B-9397-08002B2CF9AE}" pid="5" name="TemplafyUserProfileId">
    <vt:lpwstr>637889741638535846</vt:lpwstr>
  </property>
  <property fmtid="{D5CDD505-2E9C-101B-9397-08002B2CF9AE}" pid="6" name="TemplafyLanguageCode">
    <vt:lpwstr>en-GB</vt:lpwstr>
  </property>
  <property fmtid="{D5CDD505-2E9C-101B-9397-08002B2CF9AE}" pid="7" name="TemplafyFromBlank">
    <vt:bool>true</vt:bool>
  </property>
  <property fmtid="{D5CDD505-2E9C-101B-9397-08002B2CF9AE}" pid="8" name="ContentTypeId">
    <vt:lpwstr>0x0101000265237A45B927458EB3AE492DCF3701</vt:lpwstr>
  </property>
  <property fmtid="{D5CDD505-2E9C-101B-9397-08002B2CF9AE}" pid="9" name="MediaServiceImageTags">
    <vt:lpwstr/>
  </property>
</Properties>
</file>